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9"/>
  </p:notesMasterIdLst>
  <p:sldIdLst>
    <p:sldId id="1042" r:id="rId5"/>
    <p:sldId id="2147471897" r:id="rId6"/>
    <p:sldId id="2147471898" r:id="rId7"/>
    <p:sldId id="214747190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SE CASE" id="{519A758F-99E6-47B0-9D50-F52A7259D0DA}">
          <p14:sldIdLst>
            <p14:sldId id="1042"/>
            <p14:sldId id="2147471897"/>
            <p14:sldId id="2147471898"/>
            <p14:sldId id="2147471900"/>
          </p14:sldIdLst>
        </p14:section>
        <p14:section name="APPENDIX" id="{8922FA15-3815-4991-8BA0-FF576A62D9F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BCA310-6709-DFF3-4876-AAFDA4EAB24D}" name="POTDAR, PRAVIN" initials="PP" userId="S::pravin.potdar@capgemini.com::5198e578-9fdf-4f30-acd5-b31ba8ca5c3b" providerId="AD"/>
  <p188:author id="{2E9E2414-9F01-CB2E-5311-0E54558CDDDF}" name="Pal, Abhirup" initials="PA" userId="S::abhirup.a.pal@capgemini.com::7a7b92bf-53e8-424b-bb6b-7a4cf15d0279" providerId="AD"/>
  <p188:author id="{F761B3FB-180F-A71F-2F4D-4943650CBE35}" name="Rodda, Yashas Pranav" initials="RYP" userId="S::yashas-pranav.rodda@capgemini.com::d87c6963-784f-4fa1-896c-1a315718f10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0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D33BC5-ACA3-41D4-907A-556DB0996292}" v="9" dt="2023-09-01T06:56:18.8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40"/>
  </p:normalViewPr>
  <p:slideViewPr>
    <p:cSldViewPr snapToGrid="0">
      <p:cViewPr varScale="1">
        <p:scale>
          <a:sx n="59" d="100"/>
          <a:sy n="59" d="100"/>
        </p:scale>
        <p:origin x="876" y="-2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swami, Himadri" userId="bc66720a-b318-4341-a80b-6c4648fecfed" providerId="ADAL" clId="{10D33BC5-ACA3-41D4-907A-556DB0996292}"/>
    <pc:docChg chg="undo custSel delSld modSld modSection">
      <pc:chgData name="Goswami, Himadri" userId="bc66720a-b318-4341-a80b-6c4648fecfed" providerId="ADAL" clId="{10D33BC5-ACA3-41D4-907A-556DB0996292}" dt="2023-09-01T07:06:09.389" v="152" actId="6549"/>
      <pc:docMkLst>
        <pc:docMk/>
      </pc:docMkLst>
      <pc:sldChg chg="addSp delSp modSp mod">
        <pc:chgData name="Goswami, Himadri" userId="bc66720a-b318-4341-a80b-6c4648fecfed" providerId="ADAL" clId="{10D33BC5-ACA3-41D4-907A-556DB0996292}" dt="2023-09-01T06:58:26.165" v="127"/>
        <pc:sldMkLst>
          <pc:docMk/>
          <pc:sldMk cId="3867533695" sldId="1042"/>
        </pc:sldMkLst>
        <pc:spChg chg="mod">
          <ac:chgData name="Goswami, Himadri" userId="bc66720a-b318-4341-a80b-6c4648fecfed" providerId="ADAL" clId="{10D33BC5-ACA3-41D4-907A-556DB0996292}" dt="2023-09-01T06:58:26.165" v="127"/>
          <ac:spMkLst>
            <pc:docMk/>
            <pc:sldMk cId="3867533695" sldId="1042"/>
            <ac:spMk id="3" creationId="{6F8D696E-B4E9-4F10-824F-B9B79E98BE71}"/>
          </ac:spMkLst>
        </pc:spChg>
        <pc:spChg chg="add del mod">
          <ac:chgData name="Goswami, Himadri" userId="bc66720a-b318-4341-a80b-6c4648fecfed" providerId="ADAL" clId="{10D33BC5-ACA3-41D4-907A-556DB0996292}" dt="2023-09-01T06:31:19.643" v="1" actId="931"/>
          <ac:spMkLst>
            <pc:docMk/>
            <pc:sldMk cId="3867533695" sldId="1042"/>
            <ac:spMk id="4" creationId="{8694B055-5937-25B3-D789-538602D6F387}"/>
          </ac:spMkLst>
        </pc:spChg>
        <pc:spChg chg="del">
          <ac:chgData name="Goswami, Himadri" userId="bc66720a-b318-4341-a80b-6c4648fecfed" providerId="ADAL" clId="{10D33BC5-ACA3-41D4-907A-556DB0996292}" dt="2023-09-01T06:38:06.744" v="21" actId="478"/>
          <ac:spMkLst>
            <pc:docMk/>
            <pc:sldMk cId="3867533695" sldId="1042"/>
            <ac:spMk id="5" creationId="{E74EA2CB-6519-D7EC-36C3-36762D4854DE}"/>
          </ac:spMkLst>
        </pc:spChg>
        <pc:spChg chg="add del mod">
          <ac:chgData name="Goswami, Himadri" userId="bc66720a-b318-4341-a80b-6c4648fecfed" providerId="ADAL" clId="{10D33BC5-ACA3-41D4-907A-556DB0996292}" dt="2023-09-01T06:31:58.820" v="9" actId="931"/>
          <ac:spMkLst>
            <pc:docMk/>
            <pc:sldMk cId="3867533695" sldId="1042"/>
            <ac:spMk id="9" creationId="{7E0A5D9C-E1E5-8C78-57C0-511C333930CD}"/>
          </ac:spMkLst>
        </pc:spChg>
        <pc:picChg chg="add del mod">
          <ac:chgData name="Goswami, Himadri" userId="bc66720a-b318-4341-a80b-6c4648fecfed" providerId="ADAL" clId="{10D33BC5-ACA3-41D4-907A-556DB0996292}" dt="2023-09-01T06:31:50.025" v="8" actId="478"/>
          <ac:picMkLst>
            <pc:docMk/>
            <pc:sldMk cId="3867533695" sldId="1042"/>
            <ac:picMk id="7" creationId="{C265335C-F358-4EBA-EEBE-DF7DEFB940FD}"/>
          </ac:picMkLst>
        </pc:picChg>
        <pc:picChg chg="add mod">
          <ac:chgData name="Goswami, Himadri" userId="bc66720a-b318-4341-a80b-6c4648fecfed" providerId="ADAL" clId="{10D33BC5-ACA3-41D4-907A-556DB0996292}" dt="2023-09-01T06:38:15.868" v="22" actId="14100"/>
          <ac:picMkLst>
            <pc:docMk/>
            <pc:sldMk cId="3867533695" sldId="1042"/>
            <ac:picMk id="11" creationId="{04C2C6E5-8CA2-85BF-76D7-D559F5D513E3}"/>
          </ac:picMkLst>
        </pc:picChg>
        <pc:picChg chg="del">
          <ac:chgData name="Goswami, Himadri" userId="bc66720a-b318-4341-a80b-6c4648fecfed" providerId="ADAL" clId="{10D33BC5-ACA3-41D4-907A-556DB0996292}" dt="2023-09-01T06:31:04.235" v="0" actId="478"/>
          <ac:picMkLst>
            <pc:docMk/>
            <pc:sldMk cId="3867533695" sldId="1042"/>
            <ac:picMk id="12" creationId="{62B7E663-4010-9281-90B2-FD226F83B994}"/>
          </ac:picMkLst>
        </pc:picChg>
      </pc:sldChg>
      <pc:sldChg chg="del">
        <pc:chgData name="Goswami, Himadri" userId="bc66720a-b318-4341-a80b-6c4648fecfed" providerId="ADAL" clId="{10D33BC5-ACA3-41D4-907A-556DB0996292}" dt="2023-09-01T07:03:38.528" v="141" actId="2696"/>
        <pc:sldMkLst>
          <pc:docMk/>
          <pc:sldMk cId="3010811929" sldId="1068"/>
        </pc:sldMkLst>
      </pc:sldChg>
      <pc:sldChg chg="addSp delSp modSp mod">
        <pc:chgData name="Goswami, Himadri" userId="bc66720a-b318-4341-a80b-6c4648fecfed" providerId="ADAL" clId="{10D33BC5-ACA3-41D4-907A-556DB0996292}" dt="2023-09-01T06:54:47.982" v="117" actId="1076"/>
        <pc:sldMkLst>
          <pc:docMk/>
          <pc:sldMk cId="3087085241" sldId="2147471897"/>
        </pc:sldMkLst>
        <pc:spChg chg="del mod">
          <ac:chgData name="Goswami, Himadri" userId="bc66720a-b318-4341-a80b-6c4648fecfed" providerId="ADAL" clId="{10D33BC5-ACA3-41D4-907A-556DB0996292}" dt="2023-09-01T06:35:28.181" v="20" actId="478"/>
          <ac:spMkLst>
            <pc:docMk/>
            <pc:sldMk cId="3087085241" sldId="2147471897"/>
            <ac:spMk id="5" creationId="{F4DF0B32-7AD0-EA59-404E-208283B0D245}"/>
          </ac:spMkLst>
        </pc:spChg>
        <pc:spChg chg="mod">
          <ac:chgData name="Goswami, Himadri" userId="bc66720a-b318-4341-a80b-6c4648fecfed" providerId="ADAL" clId="{10D33BC5-ACA3-41D4-907A-556DB0996292}" dt="2023-09-01T06:38:34.912" v="23"/>
          <ac:spMkLst>
            <pc:docMk/>
            <pc:sldMk cId="3087085241" sldId="2147471897"/>
            <ac:spMk id="12" creationId="{FB5FA93E-690A-4A46-B8A9-6EE8E9CFD672}"/>
          </ac:spMkLst>
        </pc:spChg>
        <pc:spChg chg="mod">
          <ac:chgData name="Goswami, Himadri" userId="bc66720a-b318-4341-a80b-6c4648fecfed" providerId="ADAL" clId="{10D33BC5-ACA3-41D4-907A-556DB0996292}" dt="2023-09-01T06:54:47.087" v="116" actId="207"/>
          <ac:spMkLst>
            <pc:docMk/>
            <pc:sldMk cId="3087085241" sldId="2147471897"/>
            <ac:spMk id="14" creationId="{ACE321E5-E718-40E1-AD33-621E8B06C96B}"/>
          </ac:spMkLst>
        </pc:spChg>
        <pc:spChg chg="mod">
          <ac:chgData name="Goswami, Himadri" userId="bc66720a-b318-4341-a80b-6c4648fecfed" providerId="ADAL" clId="{10D33BC5-ACA3-41D4-907A-556DB0996292}" dt="2023-09-01T06:39:55.091" v="34" actId="14100"/>
          <ac:spMkLst>
            <pc:docMk/>
            <pc:sldMk cId="3087085241" sldId="2147471897"/>
            <ac:spMk id="31" creationId="{77B9E064-1AFA-4ECC-BA28-7AFE2A666441}"/>
          </ac:spMkLst>
        </pc:spChg>
        <pc:spChg chg="del">
          <ac:chgData name="Goswami, Himadri" userId="bc66720a-b318-4341-a80b-6c4648fecfed" providerId="ADAL" clId="{10D33BC5-ACA3-41D4-907A-556DB0996292}" dt="2023-09-01T06:38:48.629" v="25" actId="478"/>
          <ac:spMkLst>
            <pc:docMk/>
            <pc:sldMk cId="3087085241" sldId="2147471897"/>
            <ac:spMk id="33" creationId="{E2848204-4BC9-4763-B843-E7A4FB43AA38}"/>
          </ac:spMkLst>
        </pc:spChg>
        <pc:spChg chg="del">
          <ac:chgData name="Goswami, Himadri" userId="bc66720a-b318-4341-a80b-6c4648fecfed" providerId="ADAL" clId="{10D33BC5-ACA3-41D4-907A-556DB0996292}" dt="2023-09-01T06:38:45.227" v="24" actId="478"/>
          <ac:spMkLst>
            <pc:docMk/>
            <pc:sldMk cId="3087085241" sldId="2147471897"/>
            <ac:spMk id="34" creationId="{AB60488C-7DD5-4AC7-AD67-65B5A365F2E0}"/>
          </ac:spMkLst>
        </pc:spChg>
        <pc:spChg chg="del">
          <ac:chgData name="Goswami, Himadri" userId="bc66720a-b318-4341-a80b-6c4648fecfed" providerId="ADAL" clId="{10D33BC5-ACA3-41D4-907A-556DB0996292}" dt="2023-09-01T06:38:53.619" v="27" actId="478"/>
          <ac:spMkLst>
            <pc:docMk/>
            <pc:sldMk cId="3087085241" sldId="2147471897"/>
            <ac:spMk id="36" creationId="{9C99BFC1-4311-4EF4-A7A0-E161032A226A}"/>
          </ac:spMkLst>
        </pc:spChg>
        <pc:spChg chg="del">
          <ac:chgData name="Goswami, Himadri" userId="bc66720a-b318-4341-a80b-6c4648fecfed" providerId="ADAL" clId="{10D33BC5-ACA3-41D4-907A-556DB0996292}" dt="2023-09-01T06:38:51.153" v="26" actId="478"/>
          <ac:spMkLst>
            <pc:docMk/>
            <pc:sldMk cId="3087085241" sldId="2147471897"/>
            <ac:spMk id="37" creationId="{C0E0D6AF-0C1F-4F95-A2CF-34633AB7E362}"/>
          </ac:spMkLst>
        </pc:spChg>
        <pc:spChg chg="del mod">
          <ac:chgData name="Goswami, Himadri" userId="bc66720a-b318-4341-a80b-6c4648fecfed" providerId="ADAL" clId="{10D33BC5-ACA3-41D4-907A-556DB0996292}" dt="2023-09-01T06:39:01.989" v="32" actId="478"/>
          <ac:spMkLst>
            <pc:docMk/>
            <pc:sldMk cId="3087085241" sldId="2147471897"/>
            <ac:spMk id="40" creationId="{550E06A7-10AC-4B57-B6AC-E85916F3A8AD}"/>
          </ac:spMkLst>
        </pc:spChg>
        <pc:spChg chg="del">
          <ac:chgData name="Goswami, Himadri" userId="bc66720a-b318-4341-a80b-6c4648fecfed" providerId="ADAL" clId="{10D33BC5-ACA3-41D4-907A-556DB0996292}" dt="2023-09-01T06:38:56.257" v="29" actId="478"/>
          <ac:spMkLst>
            <pc:docMk/>
            <pc:sldMk cId="3087085241" sldId="2147471897"/>
            <ac:spMk id="42" creationId="{E06B4EF7-D938-416B-8C54-9E0F85C76F16}"/>
          </ac:spMkLst>
        </pc:spChg>
        <pc:spChg chg="del">
          <ac:chgData name="Goswami, Himadri" userId="bc66720a-b318-4341-a80b-6c4648fecfed" providerId="ADAL" clId="{10D33BC5-ACA3-41D4-907A-556DB0996292}" dt="2023-09-01T06:38:55.236" v="28" actId="478"/>
          <ac:spMkLst>
            <pc:docMk/>
            <pc:sldMk cId="3087085241" sldId="2147471897"/>
            <ac:spMk id="43" creationId="{65930A19-0F68-4AD7-9425-A00AE9D56D36}"/>
          </ac:spMkLst>
        </pc:spChg>
        <pc:picChg chg="mod">
          <ac:chgData name="Goswami, Himadri" userId="bc66720a-b318-4341-a80b-6c4648fecfed" providerId="ADAL" clId="{10D33BC5-ACA3-41D4-907A-556DB0996292}" dt="2023-09-01T06:54:47.982" v="117" actId="1076"/>
          <ac:picMkLst>
            <pc:docMk/>
            <pc:sldMk cId="3087085241" sldId="2147471897"/>
            <ac:picMk id="7" creationId="{B10ACC78-4080-57DA-99CF-C6E73293188D}"/>
          </ac:picMkLst>
        </pc:picChg>
        <pc:picChg chg="del">
          <ac:chgData name="Goswami, Himadri" userId="bc66720a-b318-4341-a80b-6c4648fecfed" providerId="ADAL" clId="{10D33BC5-ACA3-41D4-907A-556DB0996292}" dt="2023-09-01T06:33:46.539" v="12" actId="478"/>
          <ac:picMkLst>
            <pc:docMk/>
            <pc:sldMk cId="3087085241" sldId="2147471897"/>
            <ac:picMk id="11" creationId="{2DE75433-3447-DA6E-27A2-6035E11CF79F}"/>
          </ac:picMkLst>
        </pc:picChg>
        <pc:picChg chg="add mod">
          <ac:chgData name="Goswami, Himadri" userId="bc66720a-b318-4341-a80b-6c4648fecfed" providerId="ADAL" clId="{10D33BC5-ACA3-41D4-907A-556DB0996292}" dt="2023-09-01T06:34:21.453" v="18" actId="14100"/>
          <ac:picMkLst>
            <pc:docMk/>
            <pc:sldMk cId="3087085241" sldId="2147471897"/>
            <ac:picMk id="1026" creationId="{39906D23-66E7-1AC5-F03D-C5775D6E709D}"/>
          </ac:picMkLst>
        </pc:picChg>
        <pc:cxnChg chg="del mod">
          <ac:chgData name="Goswami, Himadri" userId="bc66720a-b318-4341-a80b-6c4648fecfed" providerId="ADAL" clId="{10D33BC5-ACA3-41D4-907A-556DB0996292}" dt="2023-09-01T06:38:58.111" v="30" actId="478"/>
          <ac:cxnSpMkLst>
            <pc:docMk/>
            <pc:sldMk cId="3087085241" sldId="2147471897"/>
            <ac:cxnSpMk id="45" creationId="{6F4396D1-A90C-4ADF-99A9-5135A8F63130}"/>
          </ac:cxnSpMkLst>
        </pc:cxnChg>
      </pc:sldChg>
      <pc:sldChg chg="addSp delSp modSp mod">
        <pc:chgData name="Goswami, Himadri" userId="bc66720a-b318-4341-a80b-6c4648fecfed" providerId="ADAL" clId="{10D33BC5-ACA3-41D4-907A-556DB0996292}" dt="2023-09-01T06:57:15.422" v="125" actId="1076"/>
        <pc:sldMkLst>
          <pc:docMk/>
          <pc:sldMk cId="2337934036" sldId="2147471898"/>
        </pc:sldMkLst>
        <pc:spChg chg="del mod">
          <ac:chgData name="Goswami, Himadri" userId="bc66720a-b318-4341-a80b-6c4648fecfed" providerId="ADAL" clId="{10D33BC5-ACA3-41D4-907A-556DB0996292}" dt="2023-09-01T06:55:30.074" v="119" actId="478"/>
          <ac:spMkLst>
            <pc:docMk/>
            <pc:sldMk cId="2337934036" sldId="2147471898"/>
            <ac:spMk id="2" creationId="{5EB77E51-F642-5D50-EC66-8A6511E8A66A}"/>
          </ac:spMkLst>
        </pc:spChg>
        <pc:spChg chg="add mod">
          <ac:chgData name="Goswami, Himadri" userId="bc66720a-b318-4341-a80b-6c4648fecfed" providerId="ADAL" clId="{10D33BC5-ACA3-41D4-907A-556DB0996292}" dt="2023-09-01T06:56:31.120" v="122" actId="1076"/>
          <ac:spMkLst>
            <pc:docMk/>
            <pc:sldMk cId="2337934036" sldId="2147471898"/>
            <ac:spMk id="3" creationId="{8F8DAF62-9E9F-DE56-1CB7-DC4322127931}"/>
          </ac:spMkLst>
        </pc:spChg>
        <pc:spChg chg="mod">
          <ac:chgData name="Goswami, Himadri" userId="bc66720a-b318-4341-a80b-6c4648fecfed" providerId="ADAL" clId="{10D33BC5-ACA3-41D4-907A-556DB0996292}" dt="2023-09-01T06:56:18.831" v="120"/>
          <ac:spMkLst>
            <pc:docMk/>
            <pc:sldMk cId="2337934036" sldId="2147471898"/>
            <ac:spMk id="5" creationId="{5FDCE380-23A6-1EFA-9F95-40D7CA2777DC}"/>
          </ac:spMkLst>
        </pc:spChg>
        <pc:spChg chg="mod">
          <ac:chgData name="Goswami, Himadri" userId="bc66720a-b318-4341-a80b-6c4648fecfed" providerId="ADAL" clId="{10D33BC5-ACA3-41D4-907A-556DB0996292}" dt="2023-09-01T06:56:18.831" v="120"/>
          <ac:spMkLst>
            <pc:docMk/>
            <pc:sldMk cId="2337934036" sldId="2147471898"/>
            <ac:spMk id="6" creationId="{D26AF227-C964-020F-A975-0C104FD5E52E}"/>
          </ac:spMkLst>
        </pc:spChg>
        <pc:spChg chg="add mod">
          <ac:chgData name="Goswami, Himadri" userId="bc66720a-b318-4341-a80b-6c4648fecfed" providerId="ADAL" clId="{10D33BC5-ACA3-41D4-907A-556DB0996292}" dt="2023-09-01T06:57:02.340" v="124" actId="1076"/>
          <ac:spMkLst>
            <pc:docMk/>
            <pc:sldMk cId="2337934036" sldId="2147471898"/>
            <ac:spMk id="7" creationId="{F192B58C-B2A2-74F7-37AC-963ECC49B4C9}"/>
          </ac:spMkLst>
        </pc:spChg>
        <pc:spChg chg="mod">
          <ac:chgData name="Goswami, Himadri" userId="bc66720a-b318-4341-a80b-6c4648fecfed" providerId="ADAL" clId="{10D33BC5-ACA3-41D4-907A-556DB0996292}" dt="2023-09-01T06:56:18.831" v="120"/>
          <ac:spMkLst>
            <pc:docMk/>
            <pc:sldMk cId="2337934036" sldId="2147471898"/>
            <ac:spMk id="9" creationId="{EAC50DC0-5232-E884-2FB4-62D9BE3124E0}"/>
          </ac:spMkLst>
        </pc:spChg>
        <pc:spChg chg="mod">
          <ac:chgData name="Goswami, Himadri" userId="bc66720a-b318-4341-a80b-6c4648fecfed" providerId="ADAL" clId="{10D33BC5-ACA3-41D4-907A-556DB0996292}" dt="2023-09-01T06:56:18.831" v="120"/>
          <ac:spMkLst>
            <pc:docMk/>
            <pc:sldMk cId="2337934036" sldId="2147471898"/>
            <ac:spMk id="10" creationId="{069BDBA6-FFD9-7EBF-2923-B22D50A0D061}"/>
          </ac:spMkLst>
        </pc:spChg>
        <pc:spChg chg="add mod">
          <ac:chgData name="Goswami, Himadri" userId="bc66720a-b318-4341-a80b-6c4648fecfed" providerId="ADAL" clId="{10D33BC5-ACA3-41D4-907A-556DB0996292}" dt="2023-09-01T06:57:15.422" v="125" actId="1076"/>
          <ac:spMkLst>
            <pc:docMk/>
            <pc:sldMk cId="2337934036" sldId="2147471898"/>
            <ac:spMk id="11" creationId="{F6D9293E-5CE9-FDBD-BF34-E31C804EB719}"/>
          </ac:spMkLst>
        </pc:spChg>
        <pc:spChg chg="add mod">
          <ac:chgData name="Goswami, Himadri" userId="bc66720a-b318-4341-a80b-6c4648fecfed" providerId="ADAL" clId="{10D33BC5-ACA3-41D4-907A-556DB0996292}" dt="2023-09-01T06:56:25.282" v="121" actId="1076"/>
          <ac:spMkLst>
            <pc:docMk/>
            <pc:sldMk cId="2337934036" sldId="2147471898"/>
            <ac:spMk id="12" creationId="{97D5A4AF-AC7D-D7DE-BC89-C905C561B1BB}"/>
          </ac:spMkLst>
        </pc:spChg>
        <pc:spChg chg="add mod">
          <ac:chgData name="Goswami, Himadri" userId="bc66720a-b318-4341-a80b-6c4648fecfed" providerId="ADAL" clId="{10D33BC5-ACA3-41D4-907A-556DB0996292}" dt="2023-09-01T06:56:25.282" v="121" actId="1076"/>
          <ac:spMkLst>
            <pc:docMk/>
            <pc:sldMk cId="2337934036" sldId="2147471898"/>
            <ac:spMk id="13" creationId="{643C7C55-024B-254D-7AC4-85385A38A2DD}"/>
          </ac:spMkLst>
        </pc:spChg>
        <pc:spChg chg="add mod">
          <ac:chgData name="Goswami, Himadri" userId="bc66720a-b318-4341-a80b-6c4648fecfed" providerId="ADAL" clId="{10D33BC5-ACA3-41D4-907A-556DB0996292}" dt="2023-09-01T06:56:25.282" v="121" actId="1076"/>
          <ac:spMkLst>
            <pc:docMk/>
            <pc:sldMk cId="2337934036" sldId="2147471898"/>
            <ac:spMk id="14" creationId="{8EC0F587-259B-C62E-125A-08578C1DF9C2}"/>
          </ac:spMkLst>
        </pc:spChg>
        <pc:spChg chg="add mod">
          <ac:chgData name="Goswami, Himadri" userId="bc66720a-b318-4341-a80b-6c4648fecfed" providerId="ADAL" clId="{10D33BC5-ACA3-41D4-907A-556DB0996292}" dt="2023-09-01T06:56:25.282" v="121" actId="1076"/>
          <ac:spMkLst>
            <pc:docMk/>
            <pc:sldMk cId="2337934036" sldId="2147471898"/>
            <ac:spMk id="15" creationId="{BDA41D03-C2A5-0186-9B36-5029CF46D3E4}"/>
          </ac:spMkLst>
        </pc:spChg>
        <pc:spChg chg="add mod">
          <ac:chgData name="Goswami, Himadri" userId="bc66720a-b318-4341-a80b-6c4648fecfed" providerId="ADAL" clId="{10D33BC5-ACA3-41D4-907A-556DB0996292}" dt="2023-09-01T06:56:25.282" v="121" actId="1076"/>
          <ac:spMkLst>
            <pc:docMk/>
            <pc:sldMk cId="2337934036" sldId="2147471898"/>
            <ac:spMk id="16" creationId="{FA9A6461-5BDB-02A0-4728-2130BBA5ADEA}"/>
          </ac:spMkLst>
        </pc:spChg>
        <pc:spChg chg="add mod">
          <ac:chgData name="Goswami, Himadri" userId="bc66720a-b318-4341-a80b-6c4648fecfed" providerId="ADAL" clId="{10D33BC5-ACA3-41D4-907A-556DB0996292}" dt="2023-09-01T06:56:25.282" v="121" actId="1076"/>
          <ac:spMkLst>
            <pc:docMk/>
            <pc:sldMk cId="2337934036" sldId="2147471898"/>
            <ac:spMk id="17" creationId="{F6C6ABA1-956B-DF10-65FB-89BDC5C96FB3}"/>
          </ac:spMkLst>
        </pc:spChg>
        <pc:spChg chg="add mod">
          <ac:chgData name="Goswami, Himadri" userId="bc66720a-b318-4341-a80b-6c4648fecfed" providerId="ADAL" clId="{10D33BC5-ACA3-41D4-907A-556DB0996292}" dt="2023-09-01T06:56:25.282" v="121" actId="1076"/>
          <ac:spMkLst>
            <pc:docMk/>
            <pc:sldMk cId="2337934036" sldId="2147471898"/>
            <ac:spMk id="18" creationId="{2B160BBC-5A52-7651-1DDF-CD1FDA6432AE}"/>
          </ac:spMkLst>
        </pc:spChg>
        <pc:spChg chg="add mod">
          <ac:chgData name="Goswami, Himadri" userId="bc66720a-b318-4341-a80b-6c4648fecfed" providerId="ADAL" clId="{10D33BC5-ACA3-41D4-907A-556DB0996292}" dt="2023-09-01T06:56:25.282" v="121" actId="1076"/>
          <ac:spMkLst>
            <pc:docMk/>
            <pc:sldMk cId="2337934036" sldId="2147471898"/>
            <ac:spMk id="19" creationId="{1218073A-CC0E-954C-8740-213250E4CB07}"/>
          </ac:spMkLst>
        </pc:spChg>
        <pc:spChg chg="add mod">
          <ac:chgData name="Goswami, Himadri" userId="bc66720a-b318-4341-a80b-6c4648fecfed" providerId="ADAL" clId="{10D33BC5-ACA3-41D4-907A-556DB0996292}" dt="2023-09-01T06:56:25.282" v="121" actId="1076"/>
          <ac:spMkLst>
            <pc:docMk/>
            <pc:sldMk cId="2337934036" sldId="2147471898"/>
            <ac:spMk id="20" creationId="{D0A6B39A-4FDC-19A3-F07A-BF3E30CE7FFA}"/>
          </ac:spMkLst>
        </pc:spChg>
        <pc:spChg chg="add mod">
          <ac:chgData name="Goswami, Himadri" userId="bc66720a-b318-4341-a80b-6c4648fecfed" providerId="ADAL" clId="{10D33BC5-ACA3-41D4-907A-556DB0996292}" dt="2023-09-01T06:56:25.282" v="121" actId="1076"/>
          <ac:spMkLst>
            <pc:docMk/>
            <pc:sldMk cId="2337934036" sldId="2147471898"/>
            <ac:spMk id="21" creationId="{8F137F32-A102-451F-F8F5-FBEFAB293E3A}"/>
          </ac:spMkLst>
        </pc:spChg>
        <pc:spChg chg="add mod">
          <ac:chgData name="Goswami, Himadri" userId="bc66720a-b318-4341-a80b-6c4648fecfed" providerId="ADAL" clId="{10D33BC5-ACA3-41D4-907A-556DB0996292}" dt="2023-09-01T06:56:49.967" v="123" actId="1076"/>
          <ac:spMkLst>
            <pc:docMk/>
            <pc:sldMk cId="2337934036" sldId="2147471898"/>
            <ac:spMk id="22" creationId="{E02EA08F-C5FB-5629-0FFA-7C5845345D36}"/>
          </ac:spMkLst>
        </pc:spChg>
        <pc:grpChg chg="add mod">
          <ac:chgData name="Goswami, Himadri" userId="bc66720a-b318-4341-a80b-6c4648fecfed" providerId="ADAL" clId="{10D33BC5-ACA3-41D4-907A-556DB0996292}" dt="2023-09-01T06:57:02.340" v="124" actId="1076"/>
          <ac:grpSpMkLst>
            <pc:docMk/>
            <pc:sldMk cId="2337934036" sldId="2147471898"/>
            <ac:grpSpMk id="4" creationId="{7D7A4DC1-1CB9-0A93-C64A-E3A63B8A7D3F}"/>
          </ac:grpSpMkLst>
        </pc:grpChg>
        <pc:grpChg chg="add mod">
          <ac:chgData name="Goswami, Himadri" userId="bc66720a-b318-4341-a80b-6c4648fecfed" providerId="ADAL" clId="{10D33BC5-ACA3-41D4-907A-556DB0996292}" dt="2023-09-01T06:57:02.340" v="124" actId="1076"/>
          <ac:grpSpMkLst>
            <pc:docMk/>
            <pc:sldMk cId="2337934036" sldId="2147471898"/>
            <ac:grpSpMk id="8" creationId="{04824122-AA17-8FA3-EB62-DA11AF6D2CBF}"/>
          </ac:grpSpMkLst>
        </pc:grpChg>
      </pc:sldChg>
      <pc:sldChg chg="addSp modSp mod">
        <pc:chgData name="Goswami, Himadri" userId="bc66720a-b318-4341-a80b-6c4648fecfed" providerId="ADAL" clId="{10D33BC5-ACA3-41D4-907A-556DB0996292}" dt="2023-09-01T07:06:09.389" v="152" actId="6549"/>
        <pc:sldMkLst>
          <pc:docMk/>
          <pc:sldMk cId="123665280" sldId="2147471899"/>
        </pc:sldMkLst>
        <pc:spChg chg="mod">
          <ac:chgData name="Goswami, Himadri" userId="bc66720a-b318-4341-a80b-6c4648fecfed" providerId="ADAL" clId="{10D33BC5-ACA3-41D4-907A-556DB0996292}" dt="2023-09-01T07:06:09.389" v="152" actId="6549"/>
          <ac:spMkLst>
            <pc:docMk/>
            <pc:sldMk cId="123665280" sldId="2147471899"/>
            <ac:spMk id="2" creationId="{88AC80AC-27B7-E3B2-4DA5-9524F265D1B9}"/>
          </ac:spMkLst>
        </pc:spChg>
        <pc:spChg chg="add mod">
          <ac:chgData name="Goswami, Himadri" userId="bc66720a-b318-4341-a80b-6c4648fecfed" providerId="ADAL" clId="{10D33BC5-ACA3-41D4-907A-556DB0996292}" dt="2023-09-01T07:02:51.299" v="140" actId="14100"/>
          <ac:spMkLst>
            <pc:docMk/>
            <pc:sldMk cId="123665280" sldId="2147471899"/>
            <ac:spMk id="4" creationId="{6AFC0E68-6261-6989-91CA-616F8029A202}"/>
          </ac:spMkLst>
        </pc:spChg>
      </pc:sldChg>
      <pc:sldMasterChg chg="delSldLayout">
        <pc:chgData name="Goswami, Himadri" userId="bc66720a-b318-4341-a80b-6c4648fecfed" providerId="ADAL" clId="{10D33BC5-ACA3-41D4-907A-556DB0996292}" dt="2023-09-01T07:03:38.528" v="141" actId="2696"/>
        <pc:sldMasterMkLst>
          <pc:docMk/>
          <pc:sldMasterMk cId="3214148408" sldId="2147483662"/>
        </pc:sldMasterMkLst>
        <pc:sldLayoutChg chg="del">
          <pc:chgData name="Goswami, Himadri" userId="bc66720a-b318-4341-a80b-6c4648fecfed" providerId="ADAL" clId="{10D33BC5-ACA3-41D4-907A-556DB0996292}" dt="2023-09-01T07:03:38.528" v="141" actId="2696"/>
          <pc:sldLayoutMkLst>
            <pc:docMk/>
            <pc:sldMasterMk cId="3214148408" sldId="2147483662"/>
            <pc:sldLayoutMk cId="1111989291" sldId="214748369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AA8BCF-8D14-4716-A39F-3698C3FB37AF}"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E03100B6-0100-43C6-B749-9A6C7800266A}">
      <dgm:prSet phldrT="[Text]"/>
      <dgm:spPr/>
      <dgm:t>
        <a:bodyPr/>
        <a:lstStyle/>
        <a:p>
          <a:pPr>
            <a:buFont typeface="+mj-lt"/>
            <a:buAutoNum type="arabicPeriod"/>
          </a:pPr>
          <a:r>
            <a:rPr lang="en-IN" b="1" i="0" dirty="0">
              <a:solidFill>
                <a:schemeClr val="bg1"/>
              </a:solidFill>
              <a:effectLst/>
              <a:latin typeface="Söhne"/>
            </a:rPr>
            <a:t>Complexity of Financial Data:</a:t>
          </a:r>
          <a:endParaRPr lang="en-US" dirty="0"/>
        </a:p>
      </dgm:t>
    </dgm:pt>
    <dgm:pt modelId="{F3B05A81-E221-495F-84F2-E4FAAC6C3024}" type="parTrans" cxnId="{C195E4AA-CE11-4B3D-A4CD-F8E54B338BDF}">
      <dgm:prSet/>
      <dgm:spPr/>
      <dgm:t>
        <a:bodyPr/>
        <a:lstStyle/>
        <a:p>
          <a:endParaRPr lang="en-US"/>
        </a:p>
      </dgm:t>
    </dgm:pt>
    <dgm:pt modelId="{A8338ADF-4F98-40D2-BD7D-4D2BF1E3EE45}" type="sibTrans" cxnId="{C195E4AA-CE11-4B3D-A4CD-F8E54B338BDF}">
      <dgm:prSet/>
      <dgm:spPr/>
      <dgm:t>
        <a:bodyPr/>
        <a:lstStyle/>
        <a:p>
          <a:endParaRPr lang="en-US"/>
        </a:p>
      </dgm:t>
    </dgm:pt>
    <dgm:pt modelId="{6AF157EF-859C-4B3A-87B0-F17BA4209C30}">
      <dgm:prSet/>
      <dgm:spPr/>
      <dgm:t>
        <a:bodyPr/>
        <a:lstStyle/>
        <a:p>
          <a:r>
            <a:rPr lang="en-IN" b="1" i="0" dirty="0">
              <a:solidFill>
                <a:schemeClr val="bg1"/>
              </a:solidFill>
              <a:effectLst/>
              <a:latin typeface="Söhne"/>
            </a:rPr>
            <a:t>Time-Consuming Manual Summarization:</a:t>
          </a:r>
          <a:endParaRPr lang="en-IN" b="0" i="0" dirty="0">
            <a:solidFill>
              <a:schemeClr val="bg1"/>
            </a:solidFill>
            <a:effectLst/>
            <a:latin typeface="Söhne"/>
          </a:endParaRPr>
        </a:p>
      </dgm:t>
    </dgm:pt>
    <dgm:pt modelId="{8BBC7212-08E3-4117-9DB3-12A0519483C7}" type="parTrans" cxnId="{E954F5D9-30B9-4488-929E-D5F31E205979}">
      <dgm:prSet/>
      <dgm:spPr/>
      <dgm:t>
        <a:bodyPr/>
        <a:lstStyle/>
        <a:p>
          <a:endParaRPr lang="en-US"/>
        </a:p>
      </dgm:t>
    </dgm:pt>
    <dgm:pt modelId="{BC46F25B-3C8D-4097-B6F5-8A70ED685371}" type="sibTrans" cxnId="{E954F5D9-30B9-4488-929E-D5F31E205979}">
      <dgm:prSet/>
      <dgm:spPr/>
      <dgm:t>
        <a:bodyPr/>
        <a:lstStyle/>
        <a:p>
          <a:endParaRPr lang="en-US"/>
        </a:p>
      </dgm:t>
    </dgm:pt>
    <dgm:pt modelId="{DBDEC4C7-8BFA-4CC3-A472-78C8A7A27A2D}">
      <dgm:prSet/>
      <dgm:spPr/>
      <dgm:t>
        <a:bodyPr/>
        <a:lstStyle/>
        <a:p>
          <a:r>
            <a:rPr lang="en-IN" b="1" i="0" dirty="0">
              <a:solidFill>
                <a:schemeClr val="bg1"/>
              </a:solidFill>
              <a:effectLst/>
              <a:latin typeface="Söhne"/>
            </a:rPr>
            <a:t>Inaccuracy and Variability:</a:t>
          </a:r>
          <a:endParaRPr lang="en-IN" b="0" i="0" dirty="0">
            <a:solidFill>
              <a:schemeClr val="bg1"/>
            </a:solidFill>
            <a:effectLst/>
            <a:latin typeface="Söhne"/>
          </a:endParaRPr>
        </a:p>
      </dgm:t>
    </dgm:pt>
    <dgm:pt modelId="{D95E3353-0BD1-4558-8768-018C64A4DB55}" type="parTrans" cxnId="{0DD4EEEE-B78E-4D8D-A10F-71552D69BE17}">
      <dgm:prSet/>
      <dgm:spPr/>
      <dgm:t>
        <a:bodyPr/>
        <a:lstStyle/>
        <a:p>
          <a:endParaRPr lang="en-US"/>
        </a:p>
      </dgm:t>
    </dgm:pt>
    <dgm:pt modelId="{F77B453B-1860-45EA-9965-2650FBC22EB4}" type="sibTrans" cxnId="{0DD4EEEE-B78E-4D8D-A10F-71552D69BE17}">
      <dgm:prSet/>
      <dgm:spPr/>
      <dgm:t>
        <a:bodyPr/>
        <a:lstStyle/>
        <a:p>
          <a:endParaRPr lang="en-US"/>
        </a:p>
      </dgm:t>
    </dgm:pt>
    <dgm:pt modelId="{1D79A5D2-DDDE-4172-8D43-7ABA75CC1E30}">
      <dgm:prSet/>
      <dgm:spPr/>
      <dgm:t>
        <a:bodyPr/>
        <a:lstStyle/>
        <a:p>
          <a:r>
            <a:rPr lang="en-IN" b="1" i="0" dirty="0">
              <a:solidFill>
                <a:schemeClr val="bg1"/>
              </a:solidFill>
              <a:effectLst/>
              <a:latin typeface="Söhne"/>
            </a:rPr>
            <a:t>Data Volume:</a:t>
          </a:r>
          <a:endParaRPr lang="en-IN" b="0" i="0" dirty="0">
            <a:solidFill>
              <a:schemeClr val="bg1"/>
            </a:solidFill>
            <a:effectLst/>
            <a:latin typeface="Söhne"/>
          </a:endParaRPr>
        </a:p>
      </dgm:t>
    </dgm:pt>
    <dgm:pt modelId="{04D18AE1-6D02-4C28-9974-2919E2E0FB96}" type="parTrans" cxnId="{7BD6A28B-261D-4D69-8AE1-5293ED8B0C6E}">
      <dgm:prSet/>
      <dgm:spPr/>
      <dgm:t>
        <a:bodyPr/>
        <a:lstStyle/>
        <a:p>
          <a:endParaRPr lang="en-US"/>
        </a:p>
      </dgm:t>
    </dgm:pt>
    <dgm:pt modelId="{148AB587-B30E-4910-949A-0A6893FA6F37}" type="sibTrans" cxnId="{7BD6A28B-261D-4D69-8AE1-5293ED8B0C6E}">
      <dgm:prSet/>
      <dgm:spPr/>
      <dgm:t>
        <a:bodyPr/>
        <a:lstStyle/>
        <a:p>
          <a:endParaRPr lang="en-US"/>
        </a:p>
      </dgm:t>
    </dgm:pt>
    <dgm:pt modelId="{7C0BD115-AD62-4102-91C3-F8AAF597C578}">
      <dgm:prSet/>
      <dgm:spPr/>
      <dgm:t>
        <a:bodyPr/>
        <a:lstStyle/>
        <a:p>
          <a:r>
            <a:rPr lang="en-IN" b="1" i="0" dirty="0">
              <a:solidFill>
                <a:schemeClr val="bg1"/>
              </a:solidFill>
              <a:effectLst/>
              <a:latin typeface="Söhne"/>
            </a:rPr>
            <a:t>Regulatory Compliance:</a:t>
          </a:r>
          <a:endParaRPr lang="en-IN" b="0" i="0" dirty="0">
            <a:solidFill>
              <a:schemeClr val="bg1"/>
            </a:solidFill>
            <a:effectLst/>
            <a:latin typeface="Söhne"/>
          </a:endParaRPr>
        </a:p>
      </dgm:t>
    </dgm:pt>
    <dgm:pt modelId="{34CA74FB-E423-4DE2-A458-D24225F7323B}" type="parTrans" cxnId="{41C083D4-FB9A-43D0-9F0D-EC532C4AA95A}">
      <dgm:prSet/>
      <dgm:spPr/>
      <dgm:t>
        <a:bodyPr/>
        <a:lstStyle/>
        <a:p>
          <a:endParaRPr lang="en-US"/>
        </a:p>
      </dgm:t>
    </dgm:pt>
    <dgm:pt modelId="{7552A2AA-29D9-4910-B3A1-97E7ED40D156}" type="sibTrans" cxnId="{41C083D4-FB9A-43D0-9F0D-EC532C4AA95A}">
      <dgm:prSet/>
      <dgm:spPr/>
      <dgm:t>
        <a:bodyPr/>
        <a:lstStyle/>
        <a:p>
          <a:endParaRPr lang="en-US"/>
        </a:p>
      </dgm:t>
    </dgm:pt>
    <dgm:pt modelId="{C50C0B4C-2E2A-4D59-AC8F-642BFC79D838}">
      <dgm:prSet/>
      <dgm:spPr/>
      <dgm:t>
        <a:bodyPr/>
        <a:lstStyle/>
        <a:p>
          <a:r>
            <a:rPr lang="en-IN" b="1" i="0" dirty="0">
              <a:solidFill>
                <a:schemeClr val="bg1"/>
              </a:solidFill>
              <a:effectLst/>
              <a:latin typeface="Söhne"/>
            </a:rPr>
            <a:t>Interpretation Challenges:</a:t>
          </a:r>
          <a:endParaRPr lang="en-IN" b="0" i="0" dirty="0">
            <a:solidFill>
              <a:schemeClr val="bg1"/>
            </a:solidFill>
            <a:effectLst/>
            <a:latin typeface="Söhne"/>
          </a:endParaRPr>
        </a:p>
      </dgm:t>
    </dgm:pt>
    <dgm:pt modelId="{B8ED00DF-CA63-4632-8794-4616C8DBBD20}" type="parTrans" cxnId="{068203DF-2031-4325-B416-0CE586C1D33B}">
      <dgm:prSet/>
      <dgm:spPr/>
      <dgm:t>
        <a:bodyPr/>
        <a:lstStyle/>
        <a:p>
          <a:endParaRPr lang="en-US"/>
        </a:p>
      </dgm:t>
    </dgm:pt>
    <dgm:pt modelId="{75475A08-FFF5-4C3B-BA6D-7761CCAF613D}" type="sibTrans" cxnId="{068203DF-2031-4325-B416-0CE586C1D33B}">
      <dgm:prSet/>
      <dgm:spPr/>
      <dgm:t>
        <a:bodyPr/>
        <a:lstStyle/>
        <a:p>
          <a:endParaRPr lang="en-US"/>
        </a:p>
      </dgm:t>
    </dgm:pt>
    <dgm:pt modelId="{3A863F93-57AD-4814-BDF1-FCE7E3C6036B}">
      <dgm:prSet/>
      <dgm:spPr/>
      <dgm:t>
        <a:bodyPr/>
        <a:lstStyle/>
        <a:p>
          <a:r>
            <a:rPr lang="en-IN" b="1" i="0" dirty="0">
              <a:solidFill>
                <a:schemeClr val="bg1"/>
              </a:solidFill>
              <a:effectLst/>
              <a:latin typeface="Söhne"/>
            </a:rPr>
            <a:t>Data Privacy and Security:</a:t>
          </a:r>
          <a:endParaRPr lang="en-IN" b="0" i="0" dirty="0">
            <a:solidFill>
              <a:schemeClr val="bg1"/>
            </a:solidFill>
            <a:effectLst/>
            <a:latin typeface="Söhne"/>
          </a:endParaRPr>
        </a:p>
      </dgm:t>
    </dgm:pt>
    <dgm:pt modelId="{91683454-E55A-45F6-AFFA-01A0631276F5}" type="parTrans" cxnId="{57038B24-AADB-4BA7-961F-F74F3CDB46E4}">
      <dgm:prSet/>
      <dgm:spPr/>
      <dgm:t>
        <a:bodyPr/>
        <a:lstStyle/>
        <a:p>
          <a:endParaRPr lang="en-US"/>
        </a:p>
      </dgm:t>
    </dgm:pt>
    <dgm:pt modelId="{1006C956-C76E-4EEB-9F3B-72EE35776649}" type="sibTrans" cxnId="{57038B24-AADB-4BA7-961F-F74F3CDB46E4}">
      <dgm:prSet/>
      <dgm:spPr/>
      <dgm:t>
        <a:bodyPr/>
        <a:lstStyle/>
        <a:p>
          <a:endParaRPr lang="en-US"/>
        </a:p>
      </dgm:t>
    </dgm:pt>
    <dgm:pt modelId="{726178F9-FE0D-4AFD-A4CC-2E482546015B}">
      <dgm:prSet/>
      <dgm:spPr/>
      <dgm:t>
        <a:bodyPr/>
        <a:lstStyle/>
        <a:p>
          <a:r>
            <a:rPr lang="en-IN" b="1" i="0" dirty="0">
              <a:solidFill>
                <a:schemeClr val="bg1"/>
              </a:solidFill>
              <a:effectLst/>
              <a:latin typeface="Söhne"/>
            </a:rPr>
            <a:t>Customization Needs:</a:t>
          </a:r>
          <a:endParaRPr lang="en-IN" b="0" i="0" dirty="0">
            <a:solidFill>
              <a:schemeClr val="bg1"/>
            </a:solidFill>
            <a:effectLst/>
            <a:latin typeface="Söhne"/>
          </a:endParaRPr>
        </a:p>
      </dgm:t>
    </dgm:pt>
    <dgm:pt modelId="{8ED36321-5C59-469E-86F5-76FD0CCA3903}" type="parTrans" cxnId="{9F17FBCA-789A-4A00-96C4-42636B122D17}">
      <dgm:prSet/>
      <dgm:spPr/>
      <dgm:t>
        <a:bodyPr/>
        <a:lstStyle/>
        <a:p>
          <a:endParaRPr lang="en-US"/>
        </a:p>
      </dgm:t>
    </dgm:pt>
    <dgm:pt modelId="{1DCCECBE-44FF-47C2-AEE5-99D7851B20FC}" type="sibTrans" cxnId="{9F17FBCA-789A-4A00-96C4-42636B122D17}">
      <dgm:prSet/>
      <dgm:spPr/>
      <dgm:t>
        <a:bodyPr/>
        <a:lstStyle/>
        <a:p>
          <a:endParaRPr lang="en-US"/>
        </a:p>
      </dgm:t>
    </dgm:pt>
    <dgm:pt modelId="{D47C9770-7E05-40EB-BB81-86C0BE5EF093}">
      <dgm:prSet/>
      <dgm:spPr/>
      <dgm:t>
        <a:bodyPr/>
        <a:lstStyle/>
        <a:p>
          <a:r>
            <a:rPr lang="en-IN" b="1" i="0" dirty="0">
              <a:solidFill>
                <a:schemeClr val="bg1"/>
              </a:solidFill>
              <a:effectLst/>
              <a:latin typeface="Söhne"/>
            </a:rPr>
            <a:t>Integration with Other Systems:</a:t>
          </a:r>
          <a:endParaRPr lang="en-IN" b="0" i="0" dirty="0">
            <a:solidFill>
              <a:schemeClr val="bg1"/>
            </a:solidFill>
            <a:effectLst/>
            <a:latin typeface="Söhne"/>
          </a:endParaRPr>
        </a:p>
      </dgm:t>
    </dgm:pt>
    <dgm:pt modelId="{DBFA7550-F64C-4065-9A5F-D3F69879AAB1}" type="parTrans" cxnId="{49435858-8C1A-4100-A786-A17D1024A883}">
      <dgm:prSet/>
      <dgm:spPr/>
      <dgm:t>
        <a:bodyPr/>
        <a:lstStyle/>
        <a:p>
          <a:endParaRPr lang="en-US"/>
        </a:p>
      </dgm:t>
    </dgm:pt>
    <dgm:pt modelId="{4AD4A143-7AAF-4A65-B986-8D0E77648CDE}" type="sibTrans" cxnId="{49435858-8C1A-4100-A786-A17D1024A883}">
      <dgm:prSet/>
      <dgm:spPr/>
      <dgm:t>
        <a:bodyPr/>
        <a:lstStyle/>
        <a:p>
          <a:endParaRPr lang="en-US"/>
        </a:p>
      </dgm:t>
    </dgm:pt>
    <dgm:pt modelId="{287C41D2-284B-49B2-ABF5-4D2D28AA3352}">
      <dgm:prSet/>
      <dgm:spPr/>
      <dgm:t>
        <a:bodyPr/>
        <a:lstStyle/>
        <a:p>
          <a:r>
            <a:rPr lang="en-IN" b="1" i="0" dirty="0">
              <a:solidFill>
                <a:schemeClr val="bg1"/>
              </a:solidFill>
              <a:effectLst/>
              <a:latin typeface="Söhne"/>
            </a:rPr>
            <a:t>Quality Control:</a:t>
          </a:r>
          <a:endParaRPr lang="en-IN" b="0" i="0" dirty="0">
            <a:solidFill>
              <a:schemeClr val="bg1"/>
            </a:solidFill>
            <a:effectLst/>
            <a:latin typeface="Söhne"/>
          </a:endParaRPr>
        </a:p>
      </dgm:t>
    </dgm:pt>
    <dgm:pt modelId="{D616E5FC-FF91-416C-9448-D4C289469E5E}" type="parTrans" cxnId="{6E05A7D7-061E-4589-9C6F-85F983C12AEE}">
      <dgm:prSet/>
      <dgm:spPr/>
      <dgm:t>
        <a:bodyPr/>
        <a:lstStyle/>
        <a:p>
          <a:endParaRPr lang="en-US"/>
        </a:p>
      </dgm:t>
    </dgm:pt>
    <dgm:pt modelId="{2AB44126-03FB-47A3-9332-69F7A768F48F}" type="sibTrans" cxnId="{6E05A7D7-061E-4589-9C6F-85F983C12AEE}">
      <dgm:prSet/>
      <dgm:spPr/>
      <dgm:t>
        <a:bodyPr/>
        <a:lstStyle/>
        <a:p>
          <a:endParaRPr lang="en-US"/>
        </a:p>
      </dgm:t>
    </dgm:pt>
    <dgm:pt modelId="{223046C9-8C52-450B-A788-5963E7148614}">
      <dgm:prSet/>
      <dgm:spPr/>
      <dgm:t>
        <a:bodyPr/>
        <a:lstStyle/>
        <a:p>
          <a:r>
            <a:rPr lang="en-IN" b="0" i="0">
              <a:solidFill>
                <a:schemeClr val="bg1"/>
              </a:solidFill>
              <a:effectLst/>
              <a:latin typeface="Söhne"/>
            </a:rPr>
            <a:t>Ensuring </a:t>
          </a:r>
          <a:r>
            <a:rPr lang="en-IN" b="0" i="0" dirty="0">
              <a:solidFill>
                <a:schemeClr val="bg1"/>
              </a:solidFill>
              <a:effectLst/>
              <a:latin typeface="Söhne"/>
            </a:rPr>
            <a:t>the quality of summaries is crucial. Summarization systems have implemented quality control mechanisms to verify the accuracy and coherence of generated summaries.</a:t>
          </a:r>
        </a:p>
      </dgm:t>
    </dgm:pt>
    <dgm:pt modelId="{2CC6D77E-8FD5-4782-AAD1-8C53F6894814}" type="parTrans" cxnId="{B55A8104-FD5E-4A80-821E-0E67EC4B1FE4}">
      <dgm:prSet/>
      <dgm:spPr/>
      <dgm:t>
        <a:bodyPr/>
        <a:lstStyle/>
        <a:p>
          <a:endParaRPr lang="en-US"/>
        </a:p>
      </dgm:t>
    </dgm:pt>
    <dgm:pt modelId="{BB7D3D26-DADC-4219-97B4-755BED805DFE}" type="sibTrans" cxnId="{B55A8104-FD5E-4A80-821E-0E67EC4B1FE4}">
      <dgm:prSet/>
      <dgm:spPr/>
      <dgm:t>
        <a:bodyPr/>
        <a:lstStyle/>
        <a:p>
          <a:endParaRPr lang="en-US"/>
        </a:p>
      </dgm:t>
    </dgm:pt>
    <dgm:pt modelId="{EDADB290-A044-49CA-81E8-A81600CE4CB6}">
      <dgm:prSet/>
      <dgm:spPr/>
      <dgm:t>
        <a:bodyPr/>
        <a:lstStyle/>
        <a:p>
          <a:r>
            <a:rPr lang="en-IN" b="0" i="0">
              <a:solidFill>
                <a:schemeClr val="bg1"/>
              </a:solidFill>
              <a:effectLst/>
              <a:latin typeface="Söhne"/>
            </a:rPr>
            <a:t>For </a:t>
          </a:r>
          <a:r>
            <a:rPr lang="en-IN" b="0" i="0" dirty="0">
              <a:solidFill>
                <a:schemeClr val="bg1"/>
              </a:solidFill>
              <a:effectLst/>
              <a:latin typeface="Söhne"/>
            </a:rPr>
            <a:t>organizations that rely on multiple software tools, integrating summarization systems with existing financial software can be challenging. However, modern systems are designed to be adaptable and can often be integrated with other platforms.</a:t>
          </a:r>
        </a:p>
      </dgm:t>
    </dgm:pt>
    <dgm:pt modelId="{8FE76A65-C2AA-4227-BDAB-E54F3451AF9E}" type="parTrans" cxnId="{0C065D9F-3623-494A-84FD-135C57162E09}">
      <dgm:prSet/>
      <dgm:spPr/>
      <dgm:t>
        <a:bodyPr/>
        <a:lstStyle/>
        <a:p>
          <a:endParaRPr lang="en-US"/>
        </a:p>
      </dgm:t>
    </dgm:pt>
    <dgm:pt modelId="{C55C231D-5FC9-4672-A78B-8AB439974AB0}" type="sibTrans" cxnId="{0C065D9F-3623-494A-84FD-135C57162E09}">
      <dgm:prSet/>
      <dgm:spPr/>
      <dgm:t>
        <a:bodyPr/>
        <a:lstStyle/>
        <a:p>
          <a:endParaRPr lang="en-US"/>
        </a:p>
      </dgm:t>
    </dgm:pt>
    <dgm:pt modelId="{AB764856-F1E6-47DE-B561-FFB0575E0213}">
      <dgm:prSet/>
      <dgm:spPr/>
      <dgm:t>
        <a:bodyPr/>
        <a:lstStyle/>
        <a:p>
          <a:r>
            <a:rPr lang="en-IN" b="0" i="0">
              <a:solidFill>
                <a:schemeClr val="bg1"/>
              </a:solidFill>
              <a:effectLst/>
              <a:latin typeface="Söhne"/>
            </a:rPr>
            <a:t>Different </a:t>
          </a:r>
          <a:r>
            <a:rPr lang="en-IN" b="0" i="0" dirty="0">
              <a:solidFill>
                <a:schemeClr val="bg1"/>
              </a:solidFill>
              <a:effectLst/>
              <a:latin typeface="Söhne"/>
            </a:rPr>
            <a:t>stakeholders, such as investors, executives, or regulators, may have unique requirements for financial summaries. Summarization systems have become more customizable to cater to diverse user needs.</a:t>
          </a:r>
        </a:p>
      </dgm:t>
    </dgm:pt>
    <dgm:pt modelId="{87EB245F-CE76-42F2-9A27-8DEA072274CF}" type="parTrans" cxnId="{D5C4EB68-FA4D-4CE8-9DE3-D8C282B07FB6}">
      <dgm:prSet/>
      <dgm:spPr/>
      <dgm:t>
        <a:bodyPr/>
        <a:lstStyle/>
        <a:p>
          <a:endParaRPr lang="en-US"/>
        </a:p>
      </dgm:t>
    </dgm:pt>
    <dgm:pt modelId="{A503DF5D-5817-4A73-A8EF-DFA9E2CD8B79}" type="sibTrans" cxnId="{D5C4EB68-FA4D-4CE8-9DE3-D8C282B07FB6}">
      <dgm:prSet/>
      <dgm:spPr/>
      <dgm:t>
        <a:bodyPr/>
        <a:lstStyle/>
        <a:p>
          <a:endParaRPr lang="en-US"/>
        </a:p>
      </dgm:t>
    </dgm:pt>
    <dgm:pt modelId="{123B9717-3B3E-4C0F-9933-5B3A2485FC6D}">
      <dgm:prSet/>
      <dgm:spPr/>
      <dgm:t>
        <a:bodyPr/>
        <a:lstStyle/>
        <a:p>
          <a:r>
            <a:rPr lang="en-IN" b="0" i="0">
              <a:solidFill>
                <a:schemeClr val="bg1"/>
              </a:solidFill>
              <a:effectLst/>
              <a:latin typeface="Söhne"/>
            </a:rPr>
            <a:t>Financial </a:t>
          </a:r>
          <a:r>
            <a:rPr lang="en-IN" b="0" i="0" dirty="0">
              <a:solidFill>
                <a:schemeClr val="bg1"/>
              </a:solidFill>
              <a:effectLst/>
              <a:latin typeface="Söhne"/>
            </a:rPr>
            <a:t>data is sensitive and must be handled securely. Summarization systems have incorporated robust security measures to protect the confidentiality of financial information.</a:t>
          </a:r>
        </a:p>
      </dgm:t>
    </dgm:pt>
    <dgm:pt modelId="{9A338797-ED68-4DD1-B3C3-05078119DC34}" type="parTrans" cxnId="{5FA2E59D-8775-4509-A826-3FD23AA49AE7}">
      <dgm:prSet/>
      <dgm:spPr/>
      <dgm:t>
        <a:bodyPr/>
        <a:lstStyle/>
        <a:p>
          <a:endParaRPr lang="en-US"/>
        </a:p>
      </dgm:t>
    </dgm:pt>
    <dgm:pt modelId="{7DE2E5F1-DD0F-4F65-A0AF-5AF5CB063A9D}" type="sibTrans" cxnId="{5FA2E59D-8775-4509-A826-3FD23AA49AE7}">
      <dgm:prSet/>
      <dgm:spPr/>
      <dgm:t>
        <a:bodyPr/>
        <a:lstStyle/>
        <a:p>
          <a:endParaRPr lang="en-US"/>
        </a:p>
      </dgm:t>
    </dgm:pt>
    <dgm:pt modelId="{FCF2E3D1-06E6-457C-81DB-C9014E57EDE2}">
      <dgm:prSet/>
      <dgm:spPr/>
      <dgm:t>
        <a:bodyPr/>
        <a:lstStyle/>
        <a:p>
          <a:r>
            <a:rPr lang="en-IN" b="0" i="0">
              <a:solidFill>
                <a:schemeClr val="bg1"/>
              </a:solidFill>
              <a:effectLst/>
              <a:latin typeface="Söhne"/>
            </a:rPr>
            <a:t>Understanding </a:t>
          </a:r>
          <a:r>
            <a:rPr lang="en-IN" b="0" i="0" dirty="0">
              <a:solidFill>
                <a:schemeClr val="bg1"/>
              </a:solidFill>
              <a:effectLst/>
              <a:latin typeface="Söhne"/>
            </a:rPr>
            <a:t>and interpreting financial reports require financial expertise. Summarization systems have improved accessibility by providing summaries that are more accessible to non-experts while preserving important financial insights.</a:t>
          </a:r>
        </a:p>
      </dgm:t>
    </dgm:pt>
    <dgm:pt modelId="{26FEE757-BE08-40AB-AAB6-B4D9A7479F8D}" type="parTrans" cxnId="{3A649AF3-B6FF-4214-B512-63989CDA6969}">
      <dgm:prSet/>
      <dgm:spPr/>
      <dgm:t>
        <a:bodyPr/>
        <a:lstStyle/>
        <a:p>
          <a:endParaRPr lang="en-US"/>
        </a:p>
      </dgm:t>
    </dgm:pt>
    <dgm:pt modelId="{E48075FC-82D3-4ED1-B088-C7317E2B425C}" type="sibTrans" cxnId="{3A649AF3-B6FF-4214-B512-63989CDA6969}">
      <dgm:prSet/>
      <dgm:spPr/>
      <dgm:t>
        <a:bodyPr/>
        <a:lstStyle/>
        <a:p>
          <a:endParaRPr lang="en-US"/>
        </a:p>
      </dgm:t>
    </dgm:pt>
    <dgm:pt modelId="{8765FAD5-C77D-4390-94F4-68D3075EFA6D}">
      <dgm:prSet/>
      <dgm:spPr/>
      <dgm:t>
        <a:bodyPr/>
        <a:lstStyle/>
        <a:p>
          <a:r>
            <a:rPr lang="en-IN" b="0" i="0">
              <a:solidFill>
                <a:schemeClr val="bg1"/>
              </a:solidFill>
              <a:effectLst/>
              <a:latin typeface="Söhne"/>
            </a:rPr>
            <a:t>Financial </a:t>
          </a:r>
          <a:r>
            <a:rPr lang="en-IN" b="0" i="0" dirty="0">
              <a:solidFill>
                <a:schemeClr val="bg1"/>
              </a:solidFill>
              <a:effectLst/>
              <a:latin typeface="Söhne"/>
            </a:rPr>
            <a:t>reports often need to comply with specific regulatory standards. Summarization systems have addressed this obstacle by ensuring that the generated summaries capture essential compliance-related information.</a:t>
          </a:r>
        </a:p>
      </dgm:t>
    </dgm:pt>
    <dgm:pt modelId="{D0785D51-5558-4F4A-9600-57E98D7EFAA4}" type="parTrans" cxnId="{DEA3ADFE-DAB7-42A3-A982-09814B270488}">
      <dgm:prSet/>
      <dgm:spPr/>
      <dgm:t>
        <a:bodyPr/>
        <a:lstStyle/>
        <a:p>
          <a:endParaRPr lang="en-US"/>
        </a:p>
      </dgm:t>
    </dgm:pt>
    <dgm:pt modelId="{8018601B-0EAE-4BD0-AF4B-8E1B7A99838C}" type="sibTrans" cxnId="{DEA3ADFE-DAB7-42A3-A982-09814B270488}">
      <dgm:prSet/>
      <dgm:spPr/>
      <dgm:t>
        <a:bodyPr/>
        <a:lstStyle/>
        <a:p>
          <a:endParaRPr lang="en-US"/>
        </a:p>
      </dgm:t>
    </dgm:pt>
    <dgm:pt modelId="{E2D8DC78-7C8E-4019-B98D-69C62CAD1FA2}">
      <dgm:prSet/>
      <dgm:spPr/>
      <dgm:t>
        <a:bodyPr/>
        <a:lstStyle/>
        <a:p>
          <a:r>
            <a:rPr lang="en-IN" b="0" i="0">
              <a:solidFill>
                <a:schemeClr val="bg1"/>
              </a:solidFill>
              <a:effectLst/>
              <a:latin typeface="Söhne"/>
            </a:rPr>
            <a:t>Financial </a:t>
          </a:r>
          <a:r>
            <a:rPr lang="en-IN" b="0" i="0" dirty="0">
              <a:solidFill>
                <a:schemeClr val="bg1"/>
              </a:solidFill>
              <a:effectLst/>
              <a:latin typeface="Söhne"/>
            </a:rPr>
            <a:t>reports can be extensive, especially for large organizations. Summarization systems can efficiently process vast amounts of data, making them suitable for handling reports of different sizes.</a:t>
          </a:r>
        </a:p>
      </dgm:t>
    </dgm:pt>
    <dgm:pt modelId="{7031364E-A56C-4B4C-A0BF-43C2AB593563}" type="parTrans" cxnId="{03DB3437-CCA8-4A1E-8647-CDE8E30AD324}">
      <dgm:prSet/>
      <dgm:spPr/>
      <dgm:t>
        <a:bodyPr/>
        <a:lstStyle/>
        <a:p>
          <a:endParaRPr lang="en-US"/>
        </a:p>
      </dgm:t>
    </dgm:pt>
    <dgm:pt modelId="{8C77BAE6-6681-4CAD-B33E-918E392B5415}" type="sibTrans" cxnId="{03DB3437-CCA8-4A1E-8647-CDE8E30AD324}">
      <dgm:prSet/>
      <dgm:spPr/>
      <dgm:t>
        <a:bodyPr/>
        <a:lstStyle/>
        <a:p>
          <a:endParaRPr lang="en-US"/>
        </a:p>
      </dgm:t>
    </dgm:pt>
    <dgm:pt modelId="{6A3D47D4-D741-4B06-9FE4-FEB169E5C2FC}">
      <dgm:prSet/>
      <dgm:spPr/>
      <dgm:t>
        <a:bodyPr/>
        <a:lstStyle/>
        <a:p>
          <a:r>
            <a:rPr lang="en-IN" b="0" i="0">
              <a:solidFill>
                <a:schemeClr val="bg1"/>
              </a:solidFill>
              <a:effectLst/>
              <a:latin typeface="Söhne"/>
            </a:rPr>
            <a:t>Human-generated </a:t>
          </a:r>
          <a:r>
            <a:rPr lang="en-IN" b="0" i="0" dirty="0">
              <a:solidFill>
                <a:schemeClr val="bg1"/>
              </a:solidFill>
              <a:effectLst/>
              <a:latin typeface="Söhne"/>
            </a:rPr>
            <a:t>summaries can vary in quality and accuracy. Automated systems strive to provide consistent and accurate summaries by using predefined rules or machine learning algorithms.</a:t>
          </a:r>
        </a:p>
      </dgm:t>
    </dgm:pt>
    <dgm:pt modelId="{8A454655-F30C-4456-A9E1-1FDA1AE9E1BA}" type="parTrans" cxnId="{7AA16A62-E32E-4D17-8D48-79FC791E6E94}">
      <dgm:prSet/>
      <dgm:spPr/>
      <dgm:t>
        <a:bodyPr/>
        <a:lstStyle/>
        <a:p>
          <a:endParaRPr lang="en-US"/>
        </a:p>
      </dgm:t>
    </dgm:pt>
    <dgm:pt modelId="{514F769E-7868-4446-823A-C07A6D901249}" type="sibTrans" cxnId="{7AA16A62-E32E-4D17-8D48-79FC791E6E94}">
      <dgm:prSet/>
      <dgm:spPr/>
      <dgm:t>
        <a:bodyPr/>
        <a:lstStyle/>
        <a:p>
          <a:endParaRPr lang="en-US"/>
        </a:p>
      </dgm:t>
    </dgm:pt>
    <dgm:pt modelId="{F586619E-7543-4771-8584-28D314DE59E9}">
      <dgm:prSet/>
      <dgm:spPr/>
      <dgm:t>
        <a:bodyPr/>
        <a:lstStyle/>
        <a:p>
          <a:r>
            <a:rPr lang="en-IN" b="0" i="0">
              <a:solidFill>
                <a:schemeClr val="bg1"/>
              </a:solidFill>
              <a:effectLst/>
              <a:latin typeface="Söhne"/>
            </a:rPr>
            <a:t>Traditional </a:t>
          </a:r>
          <a:r>
            <a:rPr lang="en-IN" b="0" i="0" dirty="0">
              <a:solidFill>
                <a:schemeClr val="bg1"/>
              </a:solidFill>
              <a:effectLst/>
              <a:latin typeface="Söhne"/>
            </a:rPr>
            <a:t>manual summarization of financial reports is time-consuming and can be prone to errors. Automated systems have significantly reduced the time and effort required to generate summaries, allowing for quicker decision-making.</a:t>
          </a:r>
        </a:p>
      </dgm:t>
    </dgm:pt>
    <dgm:pt modelId="{08463012-0F56-47D3-B51B-4F687BED3474}" type="parTrans" cxnId="{A0E1606E-52EC-4BC6-8344-FC0E5A535B5F}">
      <dgm:prSet/>
      <dgm:spPr/>
      <dgm:t>
        <a:bodyPr/>
        <a:lstStyle/>
        <a:p>
          <a:endParaRPr lang="en-US"/>
        </a:p>
      </dgm:t>
    </dgm:pt>
    <dgm:pt modelId="{11CA6CF9-EBAB-42D0-BE36-ABE8AA27A0C3}" type="sibTrans" cxnId="{A0E1606E-52EC-4BC6-8344-FC0E5A535B5F}">
      <dgm:prSet/>
      <dgm:spPr/>
      <dgm:t>
        <a:bodyPr/>
        <a:lstStyle/>
        <a:p>
          <a:endParaRPr lang="en-US"/>
        </a:p>
      </dgm:t>
    </dgm:pt>
    <dgm:pt modelId="{F9198B50-0C60-44D6-987A-A60C105B2105}">
      <dgm:prSet phldrT="[Text]"/>
      <dgm:spPr/>
      <dgm:t>
        <a:bodyPr/>
        <a:lstStyle/>
        <a:p>
          <a:pPr>
            <a:buFont typeface="+mj-lt"/>
            <a:buAutoNum type="arabicPeriod"/>
          </a:pPr>
          <a:r>
            <a:rPr lang="en-IN" b="0" i="0" dirty="0">
              <a:solidFill>
                <a:schemeClr val="bg1"/>
              </a:solidFill>
              <a:effectLst/>
              <a:latin typeface="Söhne"/>
            </a:rPr>
            <a:t>Financial reports are often packed with complex financial data, including tables, figures, and lengthy narratives. Summarization systems have overcome the challenge of simplifying this complexity by extracting key information and presenting it in a more digestible format.</a:t>
          </a:r>
          <a:endParaRPr lang="en-US" dirty="0"/>
        </a:p>
      </dgm:t>
    </dgm:pt>
    <dgm:pt modelId="{3A52C46A-3FD4-4CD5-BE88-D600379B68ED}" type="parTrans" cxnId="{0002AD04-20B0-4621-B1C6-36E9D92953C9}">
      <dgm:prSet/>
      <dgm:spPr/>
      <dgm:t>
        <a:bodyPr/>
        <a:lstStyle/>
        <a:p>
          <a:endParaRPr lang="en-US"/>
        </a:p>
      </dgm:t>
    </dgm:pt>
    <dgm:pt modelId="{5E60964B-E470-4E33-B418-ECEA333CD0D9}" type="sibTrans" cxnId="{0002AD04-20B0-4621-B1C6-36E9D92953C9}">
      <dgm:prSet/>
      <dgm:spPr/>
      <dgm:t>
        <a:bodyPr/>
        <a:lstStyle/>
        <a:p>
          <a:endParaRPr lang="en-US"/>
        </a:p>
      </dgm:t>
    </dgm:pt>
    <dgm:pt modelId="{4AAE3DDD-2133-4516-8200-0BFFB20F27FC}" type="pres">
      <dgm:prSet presAssocID="{25AA8BCF-8D14-4716-A39F-3698C3FB37AF}" presName="linear" presStyleCnt="0">
        <dgm:presLayoutVars>
          <dgm:animLvl val="lvl"/>
          <dgm:resizeHandles val="exact"/>
        </dgm:presLayoutVars>
      </dgm:prSet>
      <dgm:spPr/>
    </dgm:pt>
    <dgm:pt modelId="{367EF819-3478-4E85-BC68-94D10E75BDD5}" type="pres">
      <dgm:prSet presAssocID="{E03100B6-0100-43C6-B749-9A6C7800266A}" presName="parentText" presStyleLbl="node1" presStyleIdx="0" presStyleCnt="10">
        <dgm:presLayoutVars>
          <dgm:chMax val="0"/>
          <dgm:bulletEnabled val="1"/>
        </dgm:presLayoutVars>
      </dgm:prSet>
      <dgm:spPr/>
    </dgm:pt>
    <dgm:pt modelId="{57474FB0-E048-4165-BA08-865D7C7D6920}" type="pres">
      <dgm:prSet presAssocID="{E03100B6-0100-43C6-B749-9A6C7800266A}" presName="childText" presStyleLbl="revTx" presStyleIdx="0" presStyleCnt="10">
        <dgm:presLayoutVars>
          <dgm:bulletEnabled val="1"/>
        </dgm:presLayoutVars>
      </dgm:prSet>
      <dgm:spPr/>
    </dgm:pt>
    <dgm:pt modelId="{E8E60ECF-418D-45B8-B89D-BCB050DB7720}" type="pres">
      <dgm:prSet presAssocID="{6AF157EF-859C-4B3A-87B0-F17BA4209C30}" presName="parentText" presStyleLbl="node1" presStyleIdx="1" presStyleCnt="10">
        <dgm:presLayoutVars>
          <dgm:chMax val="0"/>
          <dgm:bulletEnabled val="1"/>
        </dgm:presLayoutVars>
      </dgm:prSet>
      <dgm:spPr/>
    </dgm:pt>
    <dgm:pt modelId="{A3C0FE16-1994-455B-8462-349EF029F3E8}" type="pres">
      <dgm:prSet presAssocID="{6AF157EF-859C-4B3A-87B0-F17BA4209C30}" presName="childText" presStyleLbl="revTx" presStyleIdx="1" presStyleCnt="10">
        <dgm:presLayoutVars>
          <dgm:bulletEnabled val="1"/>
        </dgm:presLayoutVars>
      </dgm:prSet>
      <dgm:spPr/>
    </dgm:pt>
    <dgm:pt modelId="{7401192C-CF7B-4B53-B78B-5AF510B76C91}" type="pres">
      <dgm:prSet presAssocID="{DBDEC4C7-8BFA-4CC3-A472-78C8A7A27A2D}" presName="parentText" presStyleLbl="node1" presStyleIdx="2" presStyleCnt="10">
        <dgm:presLayoutVars>
          <dgm:chMax val="0"/>
          <dgm:bulletEnabled val="1"/>
        </dgm:presLayoutVars>
      </dgm:prSet>
      <dgm:spPr/>
    </dgm:pt>
    <dgm:pt modelId="{A6CC01E8-13B5-4D96-A775-9CCD760CCA7D}" type="pres">
      <dgm:prSet presAssocID="{DBDEC4C7-8BFA-4CC3-A472-78C8A7A27A2D}" presName="childText" presStyleLbl="revTx" presStyleIdx="2" presStyleCnt="10">
        <dgm:presLayoutVars>
          <dgm:bulletEnabled val="1"/>
        </dgm:presLayoutVars>
      </dgm:prSet>
      <dgm:spPr/>
    </dgm:pt>
    <dgm:pt modelId="{EF38C8A7-A066-429A-BBA3-14C63ADDB14B}" type="pres">
      <dgm:prSet presAssocID="{1D79A5D2-DDDE-4172-8D43-7ABA75CC1E30}" presName="parentText" presStyleLbl="node1" presStyleIdx="3" presStyleCnt="10">
        <dgm:presLayoutVars>
          <dgm:chMax val="0"/>
          <dgm:bulletEnabled val="1"/>
        </dgm:presLayoutVars>
      </dgm:prSet>
      <dgm:spPr/>
    </dgm:pt>
    <dgm:pt modelId="{CD20EAAA-C741-4BA5-A650-F6782A7A2CEA}" type="pres">
      <dgm:prSet presAssocID="{1D79A5D2-DDDE-4172-8D43-7ABA75CC1E30}" presName="childText" presStyleLbl="revTx" presStyleIdx="3" presStyleCnt="10">
        <dgm:presLayoutVars>
          <dgm:bulletEnabled val="1"/>
        </dgm:presLayoutVars>
      </dgm:prSet>
      <dgm:spPr/>
    </dgm:pt>
    <dgm:pt modelId="{294410DD-9088-43D9-8245-CD7136B40AB1}" type="pres">
      <dgm:prSet presAssocID="{7C0BD115-AD62-4102-91C3-F8AAF597C578}" presName="parentText" presStyleLbl="node1" presStyleIdx="4" presStyleCnt="10">
        <dgm:presLayoutVars>
          <dgm:chMax val="0"/>
          <dgm:bulletEnabled val="1"/>
        </dgm:presLayoutVars>
      </dgm:prSet>
      <dgm:spPr/>
    </dgm:pt>
    <dgm:pt modelId="{2CE8DA3D-3FB5-473E-97BC-E6EF51B8F5DA}" type="pres">
      <dgm:prSet presAssocID="{7C0BD115-AD62-4102-91C3-F8AAF597C578}" presName="childText" presStyleLbl="revTx" presStyleIdx="4" presStyleCnt="10">
        <dgm:presLayoutVars>
          <dgm:bulletEnabled val="1"/>
        </dgm:presLayoutVars>
      </dgm:prSet>
      <dgm:spPr/>
    </dgm:pt>
    <dgm:pt modelId="{C70C3D5F-894F-4E62-B511-F85C1D49F95D}" type="pres">
      <dgm:prSet presAssocID="{C50C0B4C-2E2A-4D59-AC8F-642BFC79D838}" presName="parentText" presStyleLbl="node1" presStyleIdx="5" presStyleCnt="10">
        <dgm:presLayoutVars>
          <dgm:chMax val="0"/>
          <dgm:bulletEnabled val="1"/>
        </dgm:presLayoutVars>
      </dgm:prSet>
      <dgm:spPr/>
    </dgm:pt>
    <dgm:pt modelId="{27A934E0-A75A-45A8-8449-820A8D911B0A}" type="pres">
      <dgm:prSet presAssocID="{C50C0B4C-2E2A-4D59-AC8F-642BFC79D838}" presName="childText" presStyleLbl="revTx" presStyleIdx="5" presStyleCnt="10">
        <dgm:presLayoutVars>
          <dgm:bulletEnabled val="1"/>
        </dgm:presLayoutVars>
      </dgm:prSet>
      <dgm:spPr/>
    </dgm:pt>
    <dgm:pt modelId="{27F6E5F8-7E5D-4898-BAE2-E410A2986558}" type="pres">
      <dgm:prSet presAssocID="{3A863F93-57AD-4814-BDF1-FCE7E3C6036B}" presName="parentText" presStyleLbl="node1" presStyleIdx="6" presStyleCnt="10">
        <dgm:presLayoutVars>
          <dgm:chMax val="0"/>
          <dgm:bulletEnabled val="1"/>
        </dgm:presLayoutVars>
      </dgm:prSet>
      <dgm:spPr/>
    </dgm:pt>
    <dgm:pt modelId="{186945B0-7682-45B8-84DB-51C9EDAC23F9}" type="pres">
      <dgm:prSet presAssocID="{3A863F93-57AD-4814-BDF1-FCE7E3C6036B}" presName="childText" presStyleLbl="revTx" presStyleIdx="6" presStyleCnt="10">
        <dgm:presLayoutVars>
          <dgm:bulletEnabled val="1"/>
        </dgm:presLayoutVars>
      </dgm:prSet>
      <dgm:spPr/>
    </dgm:pt>
    <dgm:pt modelId="{47E0A6E1-2DA9-471B-9FA7-14472BB34A07}" type="pres">
      <dgm:prSet presAssocID="{726178F9-FE0D-4AFD-A4CC-2E482546015B}" presName="parentText" presStyleLbl="node1" presStyleIdx="7" presStyleCnt="10">
        <dgm:presLayoutVars>
          <dgm:chMax val="0"/>
          <dgm:bulletEnabled val="1"/>
        </dgm:presLayoutVars>
      </dgm:prSet>
      <dgm:spPr/>
    </dgm:pt>
    <dgm:pt modelId="{938BDFC3-4F24-4EE9-A79F-940203F01471}" type="pres">
      <dgm:prSet presAssocID="{726178F9-FE0D-4AFD-A4CC-2E482546015B}" presName="childText" presStyleLbl="revTx" presStyleIdx="7" presStyleCnt="10">
        <dgm:presLayoutVars>
          <dgm:bulletEnabled val="1"/>
        </dgm:presLayoutVars>
      </dgm:prSet>
      <dgm:spPr/>
    </dgm:pt>
    <dgm:pt modelId="{A3994E22-0A6E-4EB9-B255-E5F4E8DA603A}" type="pres">
      <dgm:prSet presAssocID="{D47C9770-7E05-40EB-BB81-86C0BE5EF093}" presName="parentText" presStyleLbl="node1" presStyleIdx="8" presStyleCnt="10">
        <dgm:presLayoutVars>
          <dgm:chMax val="0"/>
          <dgm:bulletEnabled val="1"/>
        </dgm:presLayoutVars>
      </dgm:prSet>
      <dgm:spPr/>
    </dgm:pt>
    <dgm:pt modelId="{CFAA4227-C24E-4906-8886-37C9C5F3AAB0}" type="pres">
      <dgm:prSet presAssocID="{D47C9770-7E05-40EB-BB81-86C0BE5EF093}" presName="childText" presStyleLbl="revTx" presStyleIdx="8" presStyleCnt="10">
        <dgm:presLayoutVars>
          <dgm:bulletEnabled val="1"/>
        </dgm:presLayoutVars>
      </dgm:prSet>
      <dgm:spPr/>
    </dgm:pt>
    <dgm:pt modelId="{0400654B-CE15-4EAA-B3E2-D3CE48B3D98A}" type="pres">
      <dgm:prSet presAssocID="{287C41D2-284B-49B2-ABF5-4D2D28AA3352}" presName="parentText" presStyleLbl="node1" presStyleIdx="9" presStyleCnt="10">
        <dgm:presLayoutVars>
          <dgm:chMax val="0"/>
          <dgm:bulletEnabled val="1"/>
        </dgm:presLayoutVars>
      </dgm:prSet>
      <dgm:spPr/>
    </dgm:pt>
    <dgm:pt modelId="{75FC8DF9-6840-4C0C-BE7C-062AF948C456}" type="pres">
      <dgm:prSet presAssocID="{287C41D2-284B-49B2-ABF5-4D2D28AA3352}" presName="childText" presStyleLbl="revTx" presStyleIdx="9" presStyleCnt="10">
        <dgm:presLayoutVars>
          <dgm:bulletEnabled val="1"/>
        </dgm:presLayoutVars>
      </dgm:prSet>
      <dgm:spPr/>
    </dgm:pt>
  </dgm:ptLst>
  <dgm:cxnLst>
    <dgm:cxn modelId="{B55A8104-FD5E-4A80-821E-0E67EC4B1FE4}" srcId="{287C41D2-284B-49B2-ABF5-4D2D28AA3352}" destId="{223046C9-8C52-450B-A788-5963E7148614}" srcOrd="0" destOrd="0" parTransId="{2CC6D77E-8FD5-4782-AAD1-8C53F6894814}" sibTransId="{BB7D3D26-DADC-4219-97B4-755BED805DFE}"/>
    <dgm:cxn modelId="{0002AD04-20B0-4621-B1C6-36E9D92953C9}" srcId="{E03100B6-0100-43C6-B749-9A6C7800266A}" destId="{F9198B50-0C60-44D6-987A-A60C105B2105}" srcOrd="0" destOrd="0" parTransId="{3A52C46A-3FD4-4CD5-BE88-D600379B68ED}" sibTransId="{5E60964B-E470-4E33-B418-ECEA333CD0D9}"/>
    <dgm:cxn modelId="{1CEC410D-BFA7-4D7F-847A-620082FFBF7E}" type="presOf" srcId="{223046C9-8C52-450B-A788-5963E7148614}" destId="{75FC8DF9-6840-4C0C-BE7C-062AF948C456}" srcOrd="0" destOrd="0" presId="urn:microsoft.com/office/officeart/2005/8/layout/vList2"/>
    <dgm:cxn modelId="{688D9418-3C78-48D7-BB57-7CB4BC552681}" type="presOf" srcId="{25AA8BCF-8D14-4716-A39F-3698C3FB37AF}" destId="{4AAE3DDD-2133-4516-8200-0BFFB20F27FC}" srcOrd="0" destOrd="0" presId="urn:microsoft.com/office/officeart/2005/8/layout/vList2"/>
    <dgm:cxn modelId="{BB2AB519-4407-46AB-812C-6434A2A4EA77}" type="presOf" srcId="{AB764856-F1E6-47DE-B561-FFB0575E0213}" destId="{938BDFC3-4F24-4EE9-A79F-940203F01471}" srcOrd="0" destOrd="0" presId="urn:microsoft.com/office/officeart/2005/8/layout/vList2"/>
    <dgm:cxn modelId="{26657E1C-1A1F-478C-8125-7264D9B64E7F}" type="presOf" srcId="{3A863F93-57AD-4814-BDF1-FCE7E3C6036B}" destId="{27F6E5F8-7E5D-4898-BAE2-E410A2986558}" srcOrd="0" destOrd="0" presId="urn:microsoft.com/office/officeart/2005/8/layout/vList2"/>
    <dgm:cxn modelId="{5D0A3E1F-3DA4-43CE-9D85-D430DB212DF3}" type="presOf" srcId="{DBDEC4C7-8BFA-4CC3-A472-78C8A7A27A2D}" destId="{7401192C-CF7B-4B53-B78B-5AF510B76C91}" srcOrd="0" destOrd="0" presId="urn:microsoft.com/office/officeart/2005/8/layout/vList2"/>
    <dgm:cxn modelId="{80BE1524-3122-417C-80D8-BCE5FA70C923}" type="presOf" srcId="{E03100B6-0100-43C6-B749-9A6C7800266A}" destId="{367EF819-3478-4E85-BC68-94D10E75BDD5}" srcOrd="0" destOrd="0" presId="urn:microsoft.com/office/officeart/2005/8/layout/vList2"/>
    <dgm:cxn modelId="{57038B24-AADB-4BA7-961F-F74F3CDB46E4}" srcId="{25AA8BCF-8D14-4716-A39F-3698C3FB37AF}" destId="{3A863F93-57AD-4814-BDF1-FCE7E3C6036B}" srcOrd="6" destOrd="0" parTransId="{91683454-E55A-45F6-AFFA-01A0631276F5}" sibTransId="{1006C956-C76E-4EEB-9F3B-72EE35776649}"/>
    <dgm:cxn modelId="{CA4D962D-06F1-4E5F-983B-390984E9B0BB}" type="presOf" srcId="{6A3D47D4-D741-4B06-9FE4-FEB169E5C2FC}" destId="{A6CC01E8-13B5-4D96-A775-9CCD760CCA7D}" srcOrd="0" destOrd="0" presId="urn:microsoft.com/office/officeart/2005/8/layout/vList2"/>
    <dgm:cxn modelId="{03DB3437-CCA8-4A1E-8647-CDE8E30AD324}" srcId="{1D79A5D2-DDDE-4172-8D43-7ABA75CC1E30}" destId="{E2D8DC78-7C8E-4019-B98D-69C62CAD1FA2}" srcOrd="0" destOrd="0" parTransId="{7031364E-A56C-4B4C-A0BF-43C2AB593563}" sibTransId="{8C77BAE6-6681-4CAD-B33E-918E392B5415}"/>
    <dgm:cxn modelId="{7AA16A62-E32E-4D17-8D48-79FC791E6E94}" srcId="{DBDEC4C7-8BFA-4CC3-A472-78C8A7A27A2D}" destId="{6A3D47D4-D741-4B06-9FE4-FEB169E5C2FC}" srcOrd="0" destOrd="0" parTransId="{8A454655-F30C-4456-A9E1-1FDA1AE9E1BA}" sibTransId="{514F769E-7868-4446-823A-C07A6D901249}"/>
    <dgm:cxn modelId="{C98A1D65-88A3-4559-AAE0-24A010529ABA}" type="presOf" srcId="{1D79A5D2-DDDE-4172-8D43-7ABA75CC1E30}" destId="{EF38C8A7-A066-429A-BBA3-14C63ADDB14B}" srcOrd="0" destOrd="0" presId="urn:microsoft.com/office/officeart/2005/8/layout/vList2"/>
    <dgm:cxn modelId="{CB932148-B604-44F2-A62E-8F78531BB782}" type="presOf" srcId="{6AF157EF-859C-4B3A-87B0-F17BA4209C30}" destId="{E8E60ECF-418D-45B8-B89D-BCB050DB7720}" srcOrd="0" destOrd="0" presId="urn:microsoft.com/office/officeart/2005/8/layout/vList2"/>
    <dgm:cxn modelId="{D5C4EB68-FA4D-4CE8-9DE3-D8C282B07FB6}" srcId="{726178F9-FE0D-4AFD-A4CC-2E482546015B}" destId="{AB764856-F1E6-47DE-B561-FFB0575E0213}" srcOrd="0" destOrd="0" parTransId="{87EB245F-CE76-42F2-9A27-8DEA072274CF}" sibTransId="{A503DF5D-5817-4A73-A8EF-DFA9E2CD8B79}"/>
    <dgm:cxn modelId="{A0E1606E-52EC-4BC6-8344-FC0E5A535B5F}" srcId="{6AF157EF-859C-4B3A-87B0-F17BA4209C30}" destId="{F586619E-7543-4771-8584-28D314DE59E9}" srcOrd="0" destOrd="0" parTransId="{08463012-0F56-47D3-B51B-4F687BED3474}" sibTransId="{11CA6CF9-EBAB-42D0-BE36-ABE8AA27A0C3}"/>
    <dgm:cxn modelId="{953CFC4E-80DE-4227-BE59-CC9706EA2E34}" type="presOf" srcId="{E2D8DC78-7C8E-4019-B98D-69C62CAD1FA2}" destId="{CD20EAAA-C741-4BA5-A650-F6782A7A2CEA}" srcOrd="0" destOrd="0" presId="urn:microsoft.com/office/officeart/2005/8/layout/vList2"/>
    <dgm:cxn modelId="{E7DED853-F9F6-4897-A302-0E41C12BAF6B}" type="presOf" srcId="{EDADB290-A044-49CA-81E8-A81600CE4CB6}" destId="{CFAA4227-C24E-4906-8886-37C9C5F3AAB0}" srcOrd="0" destOrd="0" presId="urn:microsoft.com/office/officeart/2005/8/layout/vList2"/>
    <dgm:cxn modelId="{B14D7078-6422-4CA0-92D6-BD8962E552B9}" type="presOf" srcId="{7C0BD115-AD62-4102-91C3-F8AAF597C578}" destId="{294410DD-9088-43D9-8245-CD7136B40AB1}" srcOrd="0" destOrd="0" presId="urn:microsoft.com/office/officeart/2005/8/layout/vList2"/>
    <dgm:cxn modelId="{49435858-8C1A-4100-A786-A17D1024A883}" srcId="{25AA8BCF-8D14-4716-A39F-3698C3FB37AF}" destId="{D47C9770-7E05-40EB-BB81-86C0BE5EF093}" srcOrd="8" destOrd="0" parTransId="{DBFA7550-F64C-4065-9A5F-D3F69879AAB1}" sibTransId="{4AD4A143-7AAF-4A65-B986-8D0E77648CDE}"/>
    <dgm:cxn modelId="{7BD6A28B-261D-4D69-8AE1-5293ED8B0C6E}" srcId="{25AA8BCF-8D14-4716-A39F-3698C3FB37AF}" destId="{1D79A5D2-DDDE-4172-8D43-7ABA75CC1E30}" srcOrd="3" destOrd="0" parTransId="{04D18AE1-6D02-4C28-9974-2919E2E0FB96}" sibTransId="{148AB587-B30E-4910-949A-0A6893FA6F37}"/>
    <dgm:cxn modelId="{CFC23690-C7F4-429A-A2C8-3FFBB7AC78D2}" type="presOf" srcId="{726178F9-FE0D-4AFD-A4CC-2E482546015B}" destId="{47E0A6E1-2DA9-471B-9FA7-14472BB34A07}" srcOrd="0" destOrd="0" presId="urn:microsoft.com/office/officeart/2005/8/layout/vList2"/>
    <dgm:cxn modelId="{3CD19296-9A2A-487B-9A82-D138340AE900}" type="presOf" srcId="{FCF2E3D1-06E6-457C-81DB-C9014E57EDE2}" destId="{27A934E0-A75A-45A8-8449-820A8D911B0A}" srcOrd="0" destOrd="0" presId="urn:microsoft.com/office/officeart/2005/8/layout/vList2"/>
    <dgm:cxn modelId="{5FA2E59D-8775-4509-A826-3FD23AA49AE7}" srcId="{3A863F93-57AD-4814-BDF1-FCE7E3C6036B}" destId="{123B9717-3B3E-4C0F-9933-5B3A2485FC6D}" srcOrd="0" destOrd="0" parTransId="{9A338797-ED68-4DD1-B3C3-05078119DC34}" sibTransId="{7DE2E5F1-DD0F-4F65-A0AF-5AF5CB063A9D}"/>
    <dgm:cxn modelId="{0C065D9F-3623-494A-84FD-135C57162E09}" srcId="{D47C9770-7E05-40EB-BB81-86C0BE5EF093}" destId="{EDADB290-A044-49CA-81E8-A81600CE4CB6}" srcOrd="0" destOrd="0" parTransId="{8FE76A65-C2AA-4227-BDAB-E54F3451AF9E}" sibTransId="{C55C231D-5FC9-4672-A78B-8AB439974AB0}"/>
    <dgm:cxn modelId="{540EEBA0-FA40-4F93-9304-5AE21FA9219D}" type="presOf" srcId="{C50C0B4C-2E2A-4D59-AC8F-642BFC79D838}" destId="{C70C3D5F-894F-4E62-B511-F85C1D49F95D}" srcOrd="0" destOrd="0" presId="urn:microsoft.com/office/officeart/2005/8/layout/vList2"/>
    <dgm:cxn modelId="{C195E4AA-CE11-4B3D-A4CD-F8E54B338BDF}" srcId="{25AA8BCF-8D14-4716-A39F-3698C3FB37AF}" destId="{E03100B6-0100-43C6-B749-9A6C7800266A}" srcOrd="0" destOrd="0" parTransId="{F3B05A81-E221-495F-84F2-E4FAAC6C3024}" sibTransId="{A8338ADF-4F98-40D2-BD7D-4D2BF1E3EE45}"/>
    <dgm:cxn modelId="{0FE8A5C0-63CA-4C99-A10D-B709B10B24D0}" type="presOf" srcId="{123B9717-3B3E-4C0F-9933-5B3A2485FC6D}" destId="{186945B0-7682-45B8-84DB-51C9EDAC23F9}" srcOrd="0" destOrd="0" presId="urn:microsoft.com/office/officeart/2005/8/layout/vList2"/>
    <dgm:cxn modelId="{A0F19FC2-7BCB-4958-AC52-EEFF539370BB}" type="presOf" srcId="{8765FAD5-C77D-4390-94F4-68D3075EFA6D}" destId="{2CE8DA3D-3FB5-473E-97BC-E6EF51B8F5DA}" srcOrd="0" destOrd="0" presId="urn:microsoft.com/office/officeart/2005/8/layout/vList2"/>
    <dgm:cxn modelId="{F2575CC9-1BE2-482B-AEB5-70CDCF244010}" type="presOf" srcId="{F9198B50-0C60-44D6-987A-A60C105B2105}" destId="{57474FB0-E048-4165-BA08-865D7C7D6920}" srcOrd="0" destOrd="0" presId="urn:microsoft.com/office/officeart/2005/8/layout/vList2"/>
    <dgm:cxn modelId="{9F17FBCA-789A-4A00-96C4-42636B122D17}" srcId="{25AA8BCF-8D14-4716-A39F-3698C3FB37AF}" destId="{726178F9-FE0D-4AFD-A4CC-2E482546015B}" srcOrd="7" destOrd="0" parTransId="{8ED36321-5C59-469E-86F5-76FD0CCA3903}" sibTransId="{1DCCECBE-44FF-47C2-AEE5-99D7851B20FC}"/>
    <dgm:cxn modelId="{41C083D4-FB9A-43D0-9F0D-EC532C4AA95A}" srcId="{25AA8BCF-8D14-4716-A39F-3698C3FB37AF}" destId="{7C0BD115-AD62-4102-91C3-F8AAF597C578}" srcOrd="4" destOrd="0" parTransId="{34CA74FB-E423-4DE2-A458-D24225F7323B}" sibTransId="{7552A2AA-29D9-4910-B3A1-97E7ED40D156}"/>
    <dgm:cxn modelId="{6E05A7D7-061E-4589-9C6F-85F983C12AEE}" srcId="{25AA8BCF-8D14-4716-A39F-3698C3FB37AF}" destId="{287C41D2-284B-49B2-ABF5-4D2D28AA3352}" srcOrd="9" destOrd="0" parTransId="{D616E5FC-FF91-416C-9448-D4C289469E5E}" sibTransId="{2AB44126-03FB-47A3-9332-69F7A768F48F}"/>
    <dgm:cxn modelId="{E954F5D9-30B9-4488-929E-D5F31E205979}" srcId="{25AA8BCF-8D14-4716-A39F-3698C3FB37AF}" destId="{6AF157EF-859C-4B3A-87B0-F17BA4209C30}" srcOrd="1" destOrd="0" parTransId="{8BBC7212-08E3-4117-9DB3-12A0519483C7}" sibTransId="{BC46F25B-3C8D-4097-B6F5-8A70ED685371}"/>
    <dgm:cxn modelId="{068203DF-2031-4325-B416-0CE586C1D33B}" srcId="{25AA8BCF-8D14-4716-A39F-3698C3FB37AF}" destId="{C50C0B4C-2E2A-4D59-AC8F-642BFC79D838}" srcOrd="5" destOrd="0" parTransId="{B8ED00DF-CA63-4632-8794-4616C8DBBD20}" sibTransId="{75475A08-FFF5-4C3B-BA6D-7761CCAF613D}"/>
    <dgm:cxn modelId="{A17ABCE3-BD38-476A-BFFC-9E5B91DB3623}" type="presOf" srcId="{F586619E-7543-4771-8584-28D314DE59E9}" destId="{A3C0FE16-1994-455B-8462-349EF029F3E8}" srcOrd="0" destOrd="0" presId="urn:microsoft.com/office/officeart/2005/8/layout/vList2"/>
    <dgm:cxn modelId="{0DD4EEEE-B78E-4D8D-A10F-71552D69BE17}" srcId="{25AA8BCF-8D14-4716-A39F-3698C3FB37AF}" destId="{DBDEC4C7-8BFA-4CC3-A472-78C8A7A27A2D}" srcOrd="2" destOrd="0" parTransId="{D95E3353-0BD1-4558-8768-018C64A4DB55}" sibTransId="{F77B453B-1860-45EA-9965-2650FBC22EB4}"/>
    <dgm:cxn modelId="{BEF07DF3-A34D-4B5B-8031-8C4390203920}" type="presOf" srcId="{D47C9770-7E05-40EB-BB81-86C0BE5EF093}" destId="{A3994E22-0A6E-4EB9-B255-E5F4E8DA603A}" srcOrd="0" destOrd="0" presId="urn:microsoft.com/office/officeart/2005/8/layout/vList2"/>
    <dgm:cxn modelId="{3A649AF3-B6FF-4214-B512-63989CDA6969}" srcId="{C50C0B4C-2E2A-4D59-AC8F-642BFC79D838}" destId="{FCF2E3D1-06E6-457C-81DB-C9014E57EDE2}" srcOrd="0" destOrd="0" parTransId="{26FEE757-BE08-40AB-AAB6-B4D9A7479F8D}" sibTransId="{E48075FC-82D3-4ED1-B088-C7317E2B425C}"/>
    <dgm:cxn modelId="{0CFF75F8-CFEE-40C3-9EE5-AA8E2268CEF4}" type="presOf" srcId="{287C41D2-284B-49B2-ABF5-4D2D28AA3352}" destId="{0400654B-CE15-4EAA-B3E2-D3CE48B3D98A}" srcOrd="0" destOrd="0" presId="urn:microsoft.com/office/officeart/2005/8/layout/vList2"/>
    <dgm:cxn modelId="{DEA3ADFE-DAB7-42A3-A982-09814B270488}" srcId="{7C0BD115-AD62-4102-91C3-F8AAF597C578}" destId="{8765FAD5-C77D-4390-94F4-68D3075EFA6D}" srcOrd="0" destOrd="0" parTransId="{D0785D51-5558-4F4A-9600-57E98D7EFAA4}" sibTransId="{8018601B-0EAE-4BD0-AF4B-8E1B7A99838C}"/>
    <dgm:cxn modelId="{2B132F8C-674E-4EB4-A330-5629354545C7}" type="presParOf" srcId="{4AAE3DDD-2133-4516-8200-0BFFB20F27FC}" destId="{367EF819-3478-4E85-BC68-94D10E75BDD5}" srcOrd="0" destOrd="0" presId="urn:microsoft.com/office/officeart/2005/8/layout/vList2"/>
    <dgm:cxn modelId="{E13C4182-2F04-44B4-92B8-5E6264BC78F9}" type="presParOf" srcId="{4AAE3DDD-2133-4516-8200-0BFFB20F27FC}" destId="{57474FB0-E048-4165-BA08-865D7C7D6920}" srcOrd="1" destOrd="0" presId="urn:microsoft.com/office/officeart/2005/8/layout/vList2"/>
    <dgm:cxn modelId="{331422DC-7D82-4B49-A5F3-DA706321491D}" type="presParOf" srcId="{4AAE3DDD-2133-4516-8200-0BFFB20F27FC}" destId="{E8E60ECF-418D-45B8-B89D-BCB050DB7720}" srcOrd="2" destOrd="0" presId="urn:microsoft.com/office/officeart/2005/8/layout/vList2"/>
    <dgm:cxn modelId="{C5D1B46E-D153-46A8-A0D6-7E677BF1A634}" type="presParOf" srcId="{4AAE3DDD-2133-4516-8200-0BFFB20F27FC}" destId="{A3C0FE16-1994-455B-8462-349EF029F3E8}" srcOrd="3" destOrd="0" presId="urn:microsoft.com/office/officeart/2005/8/layout/vList2"/>
    <dgm:cxn modelId="{65B969C5-6832-41D5-8FA4-2483F05579B8}" type="presParOf" srcId="{4AAE3DDD-2133-4516-8200-0BFFB20F27FC}" destId="{7401192C-CF7B-4B53-B78B-5AF510B76C91}" srcOrd="4" destOrd="0" presId="urn:microsoft.com/office/officeart/2005/8/layout/vList2"/>
    <dgm:cxn modelId="{997A4487-9A54-4071-8030-0284CB576A3C}" type="presParOf" srcId="{4AAE3DDD-2133-4516-8200-0BFFB20F27FC}" destId="{A6CC01E8-13B5-4D96-A775-9CCD760CCA7D}" srcOrd="5" destOrd="0" presId="urn:microsoft.com/office/officeart/2005/8/layout/vList2"/>
    <dgm:cxn modelId="{A7376692-9F7C-451B-9999-30937E54D210}" type="presParOf" srcId="{4AAE3DDD-2133-4516-8200-0BFFB20F27FC}" destId="{EF38C8A7-A066-429A-BBA3-14C63ADDB14B}" srcOrd="6" destOrd="0" presId="urn:microsoft.com/office/officeart/2005/8/layout/vList2"/>
    <dgm:cxn modelId="{F3C9493E-A5EB-4BCB-AE72-16185DFF51AD}" type="presParOf" srcId="{4AAE3DDD-2133-4516-8200-0BFFB20F27FC}" destId="{CD20EAAA-C741-4BA5-A650-F6782A7A2CEA}" srcOrd="7" destOrd="0" presId="urn:microsoft.com/office/officeart/2005/8/layout/vList2"/>
    <dgm:cxn modelId="{29A6ACAC-4427-4A2E-AD1A-49429046933D}" type="presParOf" srcId="{4AAE3DDD-2133-4516-8200-0BFFB20F27FC}" destId="{294410DD-9088-43D9-8245-CD7136B40AB1}" srcOrd="8" destOrd="0" presId="urn:microsoft.com/office/officeart/2005/8/layout/vList2"/>
    <dgm:cxn modelId="{4224500C-E279-4298-BD54-473047645C2B}" type="presParOf" srcId="{4AAE3DDD-2133-4516-8200-0BFFB20F27FC}" destId="{2CE8DA3D-3FB5-473E-97BC-E6EF51B8F5DA}" srcOrd="9" destOrd="0" presId="urn:microsoft.com/office/officeart/2005/8/layout/vList2"/>
    <dgm:cxn modelId="{BB8948CE-3E0C-4DD3-8EF4-B61D18601444}" type="presParOf" srcId="{4AAE3DDD-2133-4516-8200-0BFFB20F27FC}" destId="{C70C3D5F-894F-4E62-B511-F85C1D49F95D}" srcOrd="10" destOrd="0" presId="urn:microsoft.com/office/officeart/2005/8/layout/vList2"/>
    <dgm:cxn modelId="{7B782664-EF18-4330-BDCB-A49AA0752DBA}" type="presParOf" srcId="{4AAE3DDD-2133-4516-8200-0BFFB20F27FC}" destId="{27A934E0-A75A-45A8-8449-820A8D911B0A}" srcOrd="11" destOrd="0" presId="urn:microsoft.com/office/officeart/2005/8/layout/vList2"/>
    <dgm:cxn modelId="{D4D13649-BA51-40D5-B1FD-23D7570ED51A}" type="presParOf" srcId="{4AAE3DDD-2133-4516-8200-0BFFB20F27FC}" destId="{27F6E5F8-7E5D-4898-BAE2-E410A2986558}" srcOrd="12" destOrd="0" presId="urn:microsoft.com/office/officeart/2005/8/layout/vList2"/>
    <dgm:cxn modelId="{C1395800-3A97-4235-AA17-469AA0F5BD3F}" type="presParOf" srcId="{4AAE3DDD-2133-4516-8200-0BFFB20F27FC}" destId="{186945B0-7682-45B8-84DB-51C9EDAC23F9}" srcOrd="13" destOrd="0" presId="urn:microsoft.com/office/officeart/2005/8/layout/vList2"/>
    <dgm:cxn modelId="{8467F0A7-F708-40E4-B704-365C336F19E3}" type="presParOf" srcId="{4AAE3DDD-2133-4516-8200-0BFFB20F27FC}" destId="{47E0A6E1-2DA9-471B-9FA7-14472BB34A07}" srcOrd="14" destOrd="0" presId="urn:microsoft.com/office/officeart/2005/8/layout/vList2"/>
    <dgm:cxn modelId="{7F36D7BB-AD0A-422E-B99A-70F4C8C111C7}" type="presParOf" srcId="{4AAE3DDD-2133-4516-8200-0BFFB20F27FC}" destId="{938BDFC3-4F24-4EE9-A79F-940203F01471}" srcOrd="15" destOrd="0" presId="urn:microsoft.com/office/officeart/2005/8/layout/vList2"/>
    <dgm:cxn modelId="{B67E1889-754A-4116-A40E-E32C5DC20602}" type="presParOf" srcId="{4AAE3DDD-2133-4516-8200-0BFFB20F27FC}" destId="{A3994E22-0A6E-4EB9-B255-E5F4E8DA603A}" srcOrd="16" destOrd="0" presId="urn:microsoft.com/office/officeart/2005/8/layout/vList2"/>
    <dgm:cxn modelId="{7CFFD40E-08D9-48A4-95A8-A9C7CF1B15C0}" type="presParOf" srcId="{4AAE3DDD-2133-4516-8200-0BFFB20F27FC}" destId="{CFAA4227-C24E-4906-8886-37C9C5F3AAB0}" srcOrd="17" destOrd="0" presId="urn:microsoft.com/office/officeart/2005/8/layout/vList2"/>
    <dgm:cxn modelId="{9004C8F9-AED9-4323-BF56-A2597BC899A4}" type="presParOf" srcId="{4AAE3DDD-2133-4516-8200-0BFFB20F27FC}" destId="{0400654B-CE15-4EAA-B3E2-D3CE48B3D98A}" srcOrd="18" destOrd="0" presId="urn:microsoft.com/office/officeart/2005/8/layout/vList2"/>
    <dgm:cxn modelId="{32F1E65B-E4F0-4FC0-A4BB-0755055C967A}" type="presParOf" srcId="{4AAE3DDD-2133-4516-8200-0BFFB20F27FC}" destId="{75FC8DF9-6840-4C0C-BE7C-062AF948C456}" srcOrd="1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EF819-3478-4E85-BC68-94D10E75BDD5}">
      <dsp:nvSpPr>
        <dsp:cNvPr id="0" name=""/>
        <dsp:cNvSpPr/>
      </dsp:nvSpPr>
      <dsp:spPr>
        <a:xfrm>
          <a:off x="0" y="6765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Font typeface="+mj-lt"/>
            <a:buNone/>
          </a:pPr>
          <a:r>
            <a:rPr lang="en-IN" sz="1200" b="1" i="0" kern="1200" dirty="0">
              <a:solidFill>
                <a:schemeClr val="bg1"/>
              </a:solidFill>
              <a:effectLst/>
              <a:latin typeface="Söhne"/>
            </a:rPr>
            <a:t>Complexity of Financial Data:</a:t>
          </a:r>
          <a:endParaRPr lang="en-US" sz="1200" kern="1200" dirty="0"/>
        </a:p>
      </dsp:txBody>
      <dsp:txXfrm>
        <a:off x="14393" y="82046"/>
        <a:ext cx="10847135" cy="266053"/>
      </dsp:txXfrm>
    </dsp:sp>
    <dsp:sp modelId="{57474FB0-E048-4165-BA08-865D7C7D6920}">
      <dsp:nvSpPr>
        <dsp:cNvPr id="0" name=""/>
        <dsp:cNvSpPr/>
      </dsp:nvSpPr>
      <dsp:spPr>
        <a:xfrm>
          <a:off x="0" y="362493"/>
          <a:ext cx="10875921" cy="285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Font typeface="+mj-lt"/>
            <a:buAutoNum type="arabicPeriod"/>
          </a:pPr>
          <a:r>
            <a:rPr lang="en-IN" sz="900" b="0" i="0" kern="1200" dirty="0">
              <a:solidFill>
                <a:schemeClr val="bg1"/>
              </a:solidFill>
              <a:effectLst/>
              <a:latin typeface="Söhne"/>
            </a:rPr>
            <a:t>Financial reports are often packed with complex financial data, including tables, figures, and lengthy narratives. Summarization systems have overcome the challenge of simplifying this complexity by extracting key information and presenting it in a more digestible format.</a:t>
          </a:r>
          <a:endParaRPr lang="en-US" sz="900" kern="1200" dirty="0"/>
        </a:p>
      </dsp:txBody>
      <dsp:txXfrm>
        <a:off x="0" y="362493"/>
        <a:ext cx="10875921" cy="285660"/>
      </dsp:txXfrm>
    </dsp:sp>
    <dsp:sp modelId="{E8E60ECF-418D-45B8-B89D-BCB050DB7720}">
      <dsp:nvSpPr>
        <dsp:cNvPr id="0" name=""/>
        <dsp:cNvSpPr/>
      </dsp:nvSpPr>
      <dsp:spPr>
        <a:xfrm>
          <a:off x="0" y="64815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Time-Consuming Manual Summarization:</a:t>
          </a:r>
          <a:endParaRPr lang="en-IN" sz="1200" b="0" i="0" kern="1200" dirty="0">
            <a:solidFill>
              <a:schemeClr val="bg1"/>
            </a:solidFill>
            <a:effectLst/>
            <a:latin typeface="Söhne"/>
          </a:endParaRPr>
        </a:p>
      </dsp:txBody>
      <dsp:txXfrm>
        <a:off x="14393" y="662546"/>
        <a:ext cx="10847135" cy="266053"/>
      </dsp:txXfrm>
    </dsp:sp>
    <dsp:sp modelId="{A3C0FE16-1994-455B-8462-349EF029F3E8}">
      <dsp:nvSpPr>
        <dsp:cNvPr id="0" name=""/>
        <dsp:cNvSpPr/>
      </dsp:nvSpPr>
      <dsp:spPr>
        <a:xfrm>
          <a:off x="0" y="942993"/>
          <a:ext cx="10875921" cy="285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Traditional </a:t>
          </a:r>
          <a:r>
            <a:rPr lang="en-IN" sz="900" b="0" i="0" kern="1200" dirty="0">
              <a:solidFill>
                <a:schemeClr val="bg1"/>
              </a:solidFill>
              <a:effectLst/>
              <a:latin typeface="Söhne"/>
            </a:rPr>
            <a:t>manual summarization of financial reports is time-consuming and can be prone to errors. Automated systems have significantly reduced the time and effort required to generate summaries, allowing for quicker decision-making.</a:t>
          </a:r>
        </a:p>
      </dsp:txBody>
      <dsp:txXfrm>
        <a:off x="0" y="942993"/>
        <a:ext cx="10875921" cy="285660"/>
      </dsp:txXfrm>
    </dsp:sp>
    <dsp:sp modelId="{7401192C-CF7B-4B53-B78B-5AF510B76C91}">
      <dsp:nvSpPr>
        <dsp:cNvPr id="0" name=""/>
        <dsp:cNvSpPr/>
      </dsp:nvSpPr>
      <dsp:spPr>
        <a:xfrm>
          <a:off x="0" y="122865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Inaccuracy and Variability:</a:t>
          </a:r>
          <a:endParaRPr lang="en-IN" sz="1200" b="0" i="0" kern="1200" dirty="0">
            <a:solidFill>
              <a:schemeClr val="bg1"/>
            </a:solidFill>
            <a:effectLst/>
            <a:latin typeface="Söhne"/>
          </a:endParaRPr>
        </a:p>
      </dsp:txBody>
      <dsp:txXfrm>
        <a:off x="14393" y="1243046"/>
        <a:ext cx="10847135" cy="266053"/>
      </dsp:txXfrm>
    </dsp:sp>
    <dsp:sp modelId="{A6CC01E8-13B5-4D96-A775-9CCD760CCA7D}">
      <dsp:nvSpPr>
        <dsp:cNvPr id="0" name=""/>
        <dsp:cNvSpPr/>
      </dsp:nvSpPr>
      <dsp:spPr>
        <a:xfrm>
          <a:off x="0" y="1523493"/>
          <a:ext cx="10875921" cy="19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Human-generated </a:t>
          </a:r>
          <a:r>
            <a:rPr lang="en-IN" sz="900" b="0" i="0" kern="1200" dirty="0">
              <a:solidFill>
                <a:schemeClr val="bg1"/>
              </a:solidFill>
              <a:effectLst/>
              <a:latin typeface="Söhne"/>
            </a:rPr>
            <a:t>summaries can vary in quality and accuracy. Automated systems strive to provide consistent and accurate summaries by using predefined rules or machine learning algorithms.</a:t>
          </a:r>
        </a:p>
      </dsp:txBody>
      <dsp:txXfrm>
        <a:off x="0" y="1523493"/>
        <a:ext cx="10875921" cy="198720"/>
      </dsp:txXfrm>
    </dsp:sp>
    <dsp:sp modelId="{EF38C8A7-A066-429A-BBA3-14C63ADDB14B}">
      <dsp:nvSpPr>
        <dsp:cNvPr id="0" name=""/>
        <dsp:cNvSpPr/>
      </dsp:nvSpPr>
      <dsp:spPr>
        <a:xfrm>
          <a:off x="0" y="172221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Data Volume:</a:t>
          </a:r>
          <a:endParaRPr lang="en-IN" sz="1200" b="0" i="0" kern="1200" dirty="0">
            <a:solidFill>
              <a:schemeClr val="bg1"/>
            </a:solidFill>
            <a:effectLst/>
            <a:latin typeface="Söhne"/>
          </a:endParaRPr>
        </a:p>
      </dsp:txBody>
      <dsp:txXfrm>
        <a:off x="14393" y="1736606"/>
        <a:ext cx="10847135" cy="266053"/>
      </dsp:txXfrm>
    </dsp:sp>
    <dsp:sp modelId="{CD20EAAA-C741-4BA5-A650-F6782A7A2CEA}">
      <dsp:nvSpPr>
        <dsp:cNvPr id="0" name=""/>
        <dsp:cNvSpPr/>
      </dsp:nvSpPr>
      <dsp:spPr>
        <a:xfrm>
          <a:off x="0" y="2017053"/>
          <a:ext cx="10875921" cy="19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Financial </a:t>
          </a:r>
          <a:r>
            <a:rPr lang="en-IN" sz="900" b="0" i="0" kern="1200" dirty="0">
              <a:solidFill>
                <a:schemeClr val="bg1"/>
              </a:solidFill>
              <a:effectLst/>
              <a:latin typeface="Söhne"/>
            </a:rPr>
            <a:t>reports can be extensive, especially for large organizations. Summarization systems can efficiently process vast amounts of data, making them suitable for handling reports of different sizes.</a:t>
          </a:r>
        </a:p>
      </dsp:txBody>
      <dsp:txXfrm>
        <a:off x="0" y="2017053"/>
        <a:ext cx="10875921" cy="198720"/>
      </dsp:txXfrm>
    </dsp:sp>
    <dsp:sp modelId="{294410DD-9088-43D9-8245-CD7136B40AB1}">
      <dsp:nvSpPr>
        <dsp:cNvPr id="0" name=""/>
        <dsp:cNvSpPr/>
      </dsp:nvSpPr>
      <dsp:spPr>
        <a:xfrm>
          <a:off x="0" y="221577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Regulatory Compliance:</a:t>
          </a:r>
          <a:endParaRPr lang="en-IN" sz="1200" b="0" i="0" kern="1200" dirty="0">
            <a:solidFill>
              <a:schemeClr val="bg1"/>
            </a:solidFill>
            <a:effectLst/>
            <a:latin typeface="Söhne"/>
          </a:endParaRPr>
        </a:p>
      </dsp:txBody>
      <dsp:txXfrm>
        <a:off x="14393" y="2230166"/>
        <a:ext cx="10847135" cy="266053"/>
      </dsp:txXfrm>
    </dsp:sp>
    <dsp:sp modelId="{2CE8DA3D-3FB5-473E-97BC-E6EF51B8F5DA}">
      <dsp:nvSpPr>
        <dsp:cNvPr id="0" name=""/>
        <dsp:cNvSpPr/>
      </dsp:nvSpPr>
      <dsp:spPr>
        <a:xfrm>
          <a:off x="0" y="2510613"/>
          <a:ext cx="10875921" cy="19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Financial </a:t>
          </a:r>
          <a:r>
            <a:rPr lang="en-IN" sz="900" b="0" i="0" kern="1200" dirty="0">
              <a:solidFill>
                <a:schemeClr val="bg1"/>
              </a:solidFill>
              <a:effectLst/>
              <a:latin typeface="Söhne"/>
            </a:rPr>
            <a:t>reports often need to comply with specific regulatory standards. Summarization systems have addressed this obstacle by ensuring that the generated summaries capture essential compliance-related information.</a:t>
          </a:r>
        </a:p>
      </dsp:txBody>
      <dsp:txXfrm>
        <a:off x="0" y="2510613"/>
        <a:ext cx="10875921" cy="198720"/>
      </dsp:txXfrm>
    </dsp:sp>
    <dsp:sp modelId="{C70C3D5F-894F-4E62-B511-F85C1D49F95D}">
      <dsp:nvSpPr>
        <dsp:cNvPr id="0" name=""/>
        <dsp:cNvSpPr/>
      </dsp:nvSpPr>
      <dsp:spPr>
        <a:xfrm>
          <a:off x="0" y="270933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Interpretation Challenges:</a:t>
          </a:r>
          <a:endParaRPr lang="en-IN" sz="1200" b="0" i="0" kern="1200" dirty="0">
            <a:solidFill>
              <a:schemeClr val="bg1"/>
            </a:solidFill>
            <a:effectLst/>
            <a:latin typeface="Söhne"/>
          </a:endParaRPr>
        </a:p>
      </dsp:txBody>
      <dsp:txXfrm>
        <a:off x="14393" y="2723726"/>
        <a:ext cx="10847135" cy="266053"/>
      </dsp:txXfrm>
    </dsp:sp>
    <dsp:sp modelId="{27A934E0-A75A-45A8-8449-820A8D911B0A}">
      <dsp:nvSpPr>
        <dsp:cNvPr id="0" name=""/>
        <dsp:cNvSpPr/>
      </dsp:nvSpPr>
      <dsp:spPr>
        <a:xfrm>
          <a:off x="0" y="3004173"/>
          <a:ext cx="10875921" cy="285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Understanding </a:t>
          </a:r>
          <a:r>
            <a:rPr lang="en-IN" sz="900" b="0" i="0" kern="1200" dirty="0">
              <a:solidFill>
                <a:schemeClr val="bg1"/>
              </a:solidFill>
              <a:effectLst/>
              <a:latin typeface="Söhne"/>
            </a:rPr>
            <a:t>and interpreting financial reports require financial expertise. Summarization systems have improved accessibility by providing summaries that are more accessible to non-experts while preserving important financial insights.</a:t>
          </a:r>
        </a:p>
      </dsp:txBody>
      <dsp:txXfrm>
        <a:off x="0" y="3004173"/>
        <a:ext cx="10875921" cy="285660"/>
      </dsp:txXfrm>
    </dsp:sp>
    <dsp:sp modelId="{27F6E5F8-7E5D-4898-BAE2-E410A2986558}">
      <dsp:nvSpPr>
        <dsp:cNvPr id="0" name=""/>
        <dsp:cNvSpPr/>
      </dsp:nvSpPr>
      <dsp:spPr>
        <a:xfrm>
          <a:off x="0" y="328983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Data Privacy and Security:</a:t>
          </a:r>
          <a:endParaRPr lang="en-IN" sz="1200" b="0" i="0" kern="1200" dirty="0">
            <a:solidFill>
              <a:schemeClr val="bg1"/>
            </a:solidFill>
            <a:effectLst/>
            <a:latin typeface="Söhne"/>
          </a:endParaRPr>
        </a:p>
      </dsp:txBody>
      <dsp:txXfrm>
        <a:off x="14393" y="3304226"/>
        <a:ext cx="10847135" cy="266053"/>
      </dsp:txXfrm>
    </dsp:sp>
    <dsp:sp modelId="{186945B0-7682-45B8-84DB-51C9EDAC23F9}">
      <dsp:nvSpPr>
        <dsp:cNvPr id="0" name=""/>
        <dsp:cNvSpPr/>
      </dsp:nvSpPr>
      <dsp:spPr>
        <a:xfrm>
          <a:off x="0" y="3584673"/>
          <a:ext cx="10875921" cy="19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Financial </a:t>
          </a:r>
          <a:r>
            <a:rPr lang="en-IN" sz="900" b="0" i="0" kern="1200" dirty="0">
              <a:solidFill>
                <a:schemeClr val="bg1"/>
              </a:solidFill>
              <a:effectLst/>
              <a:latin typeface="Söhne"/>
            </a:rPr>
            <a:t>data is sensitive and must be handled securely. Summarization systems have incorporated robust security measures to protect the confidentiality of financial information.</a:t>
          </a:r>
        </a:p>
      </dsp:txBody>
      <dsp:txXfrm>
        <a:off x="0" y="3584673"/>
        <a:ext cx="10875921" cy="198720"/>
      </dsp:txXfrm>
    </dsp:sp>
    <dsp:sp modelId="{47E0A6E1-2DA9-471B-9FA7-14472BB34A07}">
      <dsp:nvSpPr>
        <dsp:cNvPr id="0" name=""/>
        <dsp:cNvSpPr/>
      </dsp:nvSpPr>
      <dsp:spPr>
        <a:xfrm>
          <a:off x="0" y="378339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Customization Needs:</a:t>
          </a:r>
          <a:endParaRPr lang="en-IN" sz="1200" b="0" i="0" kern="1200" dirty="0">
            <a:solidFill>
              <a:schemeClr val="bg1"/>
            </a:solidFill>
            <a:effectLst/>
            <a:latin typeface="Söhne"/>
          </a:endParaRPr>
        </a:p>
      </dsp:txBody>
      <dsp:txXfrm>
        <a:off x="14393" y="3797786"/>
        <a:ext cx="10847135" cy="266053"/>
      </dsp:txXfrm>
    </dsp:sp>
    <dsp:sp modelId="{938BDFC3-4F24-4EE9-A79F-940203F01471}">
      <dsp:nvSpPr>
        <dsp:cNvPr id="0" name=""/>
        <dsp:cNvSpPr/>
      </dsp:nvSpPr>
      <dsp:spPr>
        <a:xfrm>
          <a:off x="0" y="4078233"/>
          <a:ext cx="10875921" cy="19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Different </a:t>
          </a:r>
          <a:r>
            <a:rPr lang="en-IN" sz="900" b="0" i="0" kern="1200" dirty="0">
              <a:solidFill>
                <a:schemeClr val="bg1"/>
              </a:solidFill>
              <a:effectLst/>
              <a:latin typeface="Söhne"/>
            </a:rPr>
            <a:t>stakeholders, such as investors, executives, or regulators, may have unique requirements for financial summaries. Summarization systems have become more customizable to cater to diverse user needs.</a:t>
          </a:r>
        </a:p>
      </dsp:txBody>
      <dsp:txXfrm>
        <a:off x="0" y="4078233"/>
        <a:ext cx="10875921" cy="198720"/>
      </dsp:txXfrm>
    </dsp:sp>
    <dsp:sp modelId="{A3994E22-0A6E-4EB9-B255-E5F4E8DA603A}">
      <dsp:nvSpPr>
        <dsp:cNvPr id="0" name=""/>
        <dsp:cNvSpPr/>
      </dsp:nvSpPr>
      <dsp:spPr>
        <a:xfrm>
          <a:off x="0" y="427695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Integration with Other Systems:</a:t>
          </a:r>
          <a:endParaRPr lang="en-IN" sz="1200" b="0" i="0" kern="1200" dirty="0">
            <a:solidFill>
              <a:schemeClr val="bg1"/>
            </a:solidFill>
            <a:effectLst/>
            <a:latin typeface="Söhne"/>
          </a:endParaRPr>
        </a:p>
      </dsp:txBody>
      <dsp:txXfrm>
        <a:off x="14393" y="4291346"/>
        <a:ext cx="10847135" cy="266053"/>
      </dsp:txXfrm>
    </dsp:sp>
    <dsp:sp modelId="{CFAA4227-C24E-4906-8886-37C9C5F3AAB0}">
      <dsp:nvSpPr>
        <dsp:cNvPr id="0" name=""/>
        <dsp:cNvSpPr/>
      </dsp:nvSpPr>
      <dsp:spPr>
        <a:xfrm>
          <a:off x="0" y="4571793"/>
          <a:ext cx="10875921" cy="285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For </a:t>
          </a:r>
          <a:r>
            <a:rPr lang="en-IN" sz="900" b="0" i="0" kern="1200" dirty="0">
              <a:solidFill>
                <a:schemeClr val="bg1"/>
              </a:solidFill>
              <a:effectLst/>
              <a:latin typeface="Söhne"/>
            </a:rPr>
            <a:t>organizations that rely on multiple software tools, integrating summarization systems with existing financial software can be challenging. However, modern systems are designed to be adaptable and can often be integrated with other platforms.</a:t>
          </a:r>
        </a:p>
      </dsp:txBody>
      <dsp:txXfrm>
        <a:off x="0" y="4571793"/>
        <a:ext cx="10875921" cy="285660"/>
      </dsp:txXfrm>
    </dsp:sp>
    <dsp:sp modelId="{0400654B-CE15-4EAA-B3E2-D3CE48B3D98A}">
      <dsp:nvSpPr>
        <dsp:cNvPr id="0" name=""/>
        <dsp:cNvSpPr/>
      </dsp:nvSpPr>
      <dsp:spPr>
        <a:xfrm>
          <a:off x="0" y="4857453"/>
          <a:ext cx="10875921" cy="2948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IN" sz="1200" b="1" i="0" kern="1200" dirty="0">
              <a:solidFill>
                <a:schemeClr val="bg1"/>
              </a:solidFill>
              <a:effectLst/>
              <a:latin typeface="Söhne"/>
            </a:rPr>
            <a:t>Quality Control:</a:t>
          </a:r>
          <a:endParaRPr lang="en-IN" sz="1200" b="0" i="0" kern="1200" dirty="0">
            <a:solidFill>
              <a:schemeClr val="bg1"/>
            </a:solidFill>
            <a:effectLst/>
            <a:latin typeface="Söhne"/>
          </a:endParaRPr>
        </a:p>
      </dsp:txBody>
      <dsp:txXfrm>
        <a:off x="14393" y="4871846"/>
        <a:ext cx="10847135" cy="266053"/>
      </dsp:txXfrm>
    </dsp:sp>
    <dsp:sp modelId="{75FC8DF9-6840-4C0C-BE7C-062AF948C456}">
      <dsp:nvSpPr>
        <dsp:cNvPr id="0" name=""/>
        <dsp:cNvSpPr/>
      </dsp:nvSpPr>
      <dsp:spPr>
        <a:xfrm>
          <a:off x="0" y="5152293"/>
          <a:ext cx="10875921" cy="198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310" tIns="15240" rIns="85344" bIns="15240" numCol="1" spcCol="1270" anchor="t" anchorCtr="0">
          <a:noAutofit/>
        </a:bodyPr>
        <a:lstStyle/>
        <a:p>
          <a:pPr marL="57150" lvl="1" indent="-57150" algn="l" defTabSz="400050">
            <a:lnSpc>
              <a:spcPct val="90000"/>
            </a:lnSpc>
            <a:spcBef>
              <a:spcPct val="0"/>
            </a:spcBef>
            <a:spcAft>
              <a:spcPct val="20000"/>
            </a:spcAft>
            <a:buChar char="•"/>
          </a:pPr>
          <a:r>
            <a:rPr lang="en-IN" sz="900" b="0" i="0" kern="1200">
              <a:solidFill>
                <a:schemeClr val="bg1"/>
              </a:solidFill>
              <a:effectLst/>
              <a:latin typeface="Söhne"/>
            </a:rPr>
            <a:t>Ensuring </a:t>
          </a:r>
          <a:r>
            <a:rPr lang="en-IN" sz="900" b="0" i="0" kern="1200" dirty="0">
              <a:solidFill>
                <a:schemeClr val="bg1"/>
              </a:solidFill>
              <a:effectLst/>
              <a:latin typeface="Söhne"/>
            </a:rPr>
            <a:t>the quality of summaries is crucial. Summarization systems have implemented quality control mechanisms to verify the accuracy and coherence of generated summaries.</a:t>
          </a:r>
        </a:p>
      </dsp:txBody>
      <dsp:txXfrm>
        <a:off x="0" y="5152293"/>
        <a:ext cx="10875921" cy="1987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66912-C269-4EE8-AECF-182FB8FD942C}" type="datetimeFigureOut">
              <a:rPr lang="en-US" smtClean="0"/>
              <a:t>9/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3E4EFE-4C7E-43B8-BFCA-CC2AAED51871}" type="slidenum">
              <a:rPr lang="en-US" smtClean="0"/>
              <a:t>‹#›</a:t>
            </a:fld>
            <a:endParaRPr lang="en-US"/>
          </a:p>
        </p:txBody>
      </p:sp>
    </p:spTree>
    <p:extLst>
      <p:ext uri="{BB962C8B-B14F-4D97-AF65-F5344CB8AC3E}">
        <p14:creationId xmlns:p14="http://schemas.microsoft.com/office/powerpoint/2010/main" val="2330744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068254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or Opportunity ID – OP# 0178232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roup Priority – Data &amp; AI (AIA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trategic Industry - Automot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usiness Line – I&amp;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onfidentiality Status (Red/Orange/Green) - Or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te (year) -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artners – N/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eography – North America</a:t>
            </a:r>
            <a:endParaRPr lang="en-IN"/>
          </a:p>
        </p:txBody>
      </p:sp>
      <p:sp>
        <p:nvSpPr>
          <p:cNvPr id="4" name="Slide Number Placeholder 3"/>
          <p:cNvSpPr>
            <a:spLocks noGrp="1"/>
          </p:cNvSpPr>
          <p:nvPr>
            <p:ph type="sldNum" sz="quarter" idx="5"/>
          </p:nvPr>
        </p:nvSpPr>
        <p:spPr/>
        <p:txBody>
          <a:bodyPr/>
          <a:lstStyle/>
          <a:p>
            <a:fld id="{AC3E4EFE-4C7E-43B8-BFCA-CC2AAED51871}" type="slidenum">
              <a:rPr lang="en-US" smtClean="0"/>
              <a:t>3</a:t>
            </a:fld>
            <a:endParaRPr lang="en-US"/>
          </a:p>
        </p:txBody>
      </p:sp>
    </p:spTree>
    <p:extLst>
      <p:ext uri="{BB962C8B-B14F-4D97-AF65-F5344CB8AC3E}">
        <p14:creationId xmlns:p14="http://schemas.microsoft.com/office/powerpoint/2010/main" val="1818181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or Opportunity ID – OP# 0178232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roup Priority – Data &amp; AI (AIA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trategic Industry - Automotiv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Business Line – I&amp;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onfidentiality Status (Red/Orange/Green) - Oran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ate (year) -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artners – N/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eography – North America</a:t>
            </a:r>
            <a:endParaRPr lang="en-IN"/>
          </a:p>
        </p:txBody>
      </p:sp>
      <p:sp>
        <p:nvSpPr>
          <p:cNvPr id="4" name="Slide Number Placeholder 3"/>
          <p:cNvSpPr>
            <a:spLocks noGrp="1"/>
          </p:cNvSpPr>
          <p:nvPr>
            <p:ph type="sldNum" sz="quarter" idx="5"/>
          </p:nvPr>
        </p:nvSpPr>
        <p:spPr/>
        <p:txBody>
          <a:bodyPr/>
          <a:lstStyle/>
          <a:p>
            <a:fld id="{AC3E4EFE-4C7E-43B8-BFCA-CC2AAED51871}" type="slidenum">
              <a:rPr lang="en-US" smtClean="0"/>
              <a:t>4</a:t>
            </a:fld>
            <a:endParaRPr lang="en-US"/>
          </a:p>
        </p:txBody>
      </p:sp>
    </p:spTree>
    <p:extLst>
      <p:ext uri="{BB962C8B-B14F-4D97-AF65-F5344CB8AC3E}">
        <p14:creationId xmlns:p14="http://schemas.microsoft.com/office/powerpoint/2010/main" val="4235822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Purpl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2340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prstGeom prst="rect">
            <a:avLst/>
          </a:prstGeo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a:prstGeom prst="rect">
            <a:avLst/>
          </a:prstGeo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62596546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extLst>
              <p:ext uri="{D42A27DB-BD31-4B8C-83A1-F6EECF244321}">
                <p14:modId xmlns:p14="http://schemas.microsoft.com/office/powerpoint/2010/main" val="173334894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0975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62" name="Rectangle 27">
            <a:extLst>
              <a:ext uri="{FF2B5EF4-FFF2-40B4-BE49-F238E27FC236}">
                <a16:creationId xmlns:a16="http://schemas.microsoft.com/office/drawing/2014/main" id="{32314F18-1740-6642-86E7-55EA213A099F}"/>
              </a:ext>
            </a:extLst>
          </p:cNvPr>
          <p:cNvSpPr/>
          <p:nvPr userDrawn="1"/>
        </p:nvSpPr>
        <p:spPr>
          <a:xfrm>
            <a:off x="424878" y="6509756"/>
            <a:ext cx="4532162"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TIME ON BLOCK PREDICTION</a:t>
            </a:r>
          </a:p>
        </p:txBody>
      </p:sp>
    </p:spTree>
    <p:extLst>
      <p:ext uri="{BB962C8B-B14F-4D97-AF65-F5344CB8AC3E}">
        <p14:creationId xmlns:p14="http://schemas.microsoft.com/office/powerpoint/2010/main" val="3214148408"/>
      </p:ext>
    </p:extLst>
  </p:cSld>
  <p:clrMap bg1="lt1" tx1="dk1" bg2="lt2" tx2="dk2" accent1="accent1" accent2="accent2" accent3="accent3" accent4="accent4" accent5="accent5" accent6="accent6" hlink="hlink" folHlink="folHlink"/>
  <p:sldLayoutIdLst>
    <p:sldLayoutId id="2147483663" r:id="rId1"/>
    <p:sldLayoutId id="2147483666"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guide id="10" pos="2570">
          <p15:clr>
            <a:srgbClr val="F26B43"/>
          </p15:clr>
        </p15:guide>
        <p15:guide id="11" pos="5972">
          <p15:clr>
            <a:srgbClr val="F26B43"/>
          </p15:clr>
        </p15:guide>
        <p15:guide id="12" pos="27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262759" y="1849931"/>
            <a:ext cx="5486400" cy="2659190"/>
          </a:xfrm>
        </p:spPr>
        <p:txBody>
          <a:bodyPr/>
          <a:lstStyle/>
          <a:p>
            <a:r>
              <a:rPr lang="en-IN" sz="4800" dirty="0">
                <a:solidFill>
                  <a:srgbClr val="FFFFFF"/>
                </a:solidFill>
              </a:rPr>
              <a:t>Financial Report Summarization</a:t>
            </a:r>
            <a:endParaRPr lang="en-GB" sz="4800" b="0" cap="none" dirty="0">
              <a:latin typeface="Ubuntu Medium" panose="020B0604030602030204" pitchFamily="34" charset="0"/>
            </a:endParaRPr>
          </a:p>
        </p:txBody>
      </p:sp>
      <p:pic>
        <p:nvPicPr>
          <p:cNvPr id="13" name="Image 15">
            <a:extLst>
              <a:ext uri="{FF2B5EF4-FFF2-40B4-BE49-F238E27FC236}">
                <a16:creationId xmlns:a16="http://schemas.microsoft.com/office/drawing/2014/main" id="{3BCF6335-0941-94FE-A0E9-EB87F1875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411" y="2262907"/>
            <a:ext cx="9702386" cy="6043284"/>
          </a:xfrm>
          <a:prstGeom prst="rect">
            <a:avLst/>
          </a:prstGeom>
        </p:spPr>
      </p:pic>
      <p:pic>
        <p:nvPicPr>
          <p:cNvPr id="11" name="Picture Placeholder 10" descr="A person looking at a screen with graphs and charts&#10;&#10;Description automatically generated">
            <a:extLst>
              <a:ext uri="{FF2B5EF4-FFF2-40B4-BE49-F238E27FC236}">
                <a16:creationId xmlns:a16="http://schemas.microsoft.com/office/drawing/2014/main" id="{04C2C6E5-8CA2-85BF-76D7-D559F5D513E3}"/>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3198" r="13198"/>
          <a:stretch>
            <a:fillRect/>
          </a:stretch>
        </p:blipFill>
        <p:spPr>
          <a:xfrm>
            <a:off x="5559972" y="0"/>
            <a:ext cx="6632028" cy="6858000"/>
          </a:xfrm>
        </p:spPr>
      </p:pic>
    </p:spTree>
    <p:extLst>
      <p:ext uri="{BB962C8B-B14F-4D97-AF65-F5344CB8AC3E}">
        <p14:creationId xmlns:p14="http://schemas.microsoft.com/office/powerpoint/2010/main" val="3867533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FB5FA93E-690A-4A46-B8A9-6EE8E9CFD672}"/>
              </a:ext>
            </a:extLst>
          </p:cNvPr>
          <p:cNvSpPr txBox="1"/>
          <p:nvPr/>
        </p:nvSpPr>
        <p:spPr>
          <a:xfrm>
            <a:off x="4172105" y="218997"/>
            <a:ext cx="7225553" cy="369332"/>
          </a:xfrm>
          <a:prstGeom prst="rect">
            <a:avLst/>
          </a:prstGeom>
          <a:noFill/>
        </p:spPr>
        <p:txBody>
          <a:bodyPr wrap="square" lIns="0" tIns="0" rIns="0" bIns="0">
            <a:spAutoFit/>
          </a:bodyPr>
          <a:lstStyle/>
          <a:p>
            <a:pPr marL="0" marR="0" lvl="1" indent="0" algn="l" defTabSz="914400" rtl="0" eaLnBrk="1" fontAlgn="auto" latinLnBrk="0" hangingPunct="1">
              <a:lnSpc>
                <a:spcPct val="100000"/>
              </a:lnSpc>
              <a:spcBef>
                <a:spcPts val="300"/>
              </a:spcBef>
              <a:spcAft>
                <a:spcPts val="0"/>
              </a:spcAft>
              <a:buClr>
                <a:srgbClr val="002060"/>
              </a:buClr>
              <a:buSzPct val="100000"/>
              <a:buFontTx/>
              <a:buNone/>
              <a:tabLst/>
              <a:defRPr/>
            </a:pPr>
            <a:r>
              <a:rPr lang="en-IN" sz="2400" dirty="0">
                <a:solidFill>
                  <a:srgbClr val="FFFFFF"/>
                </a:solidFill>
              </a:rPr>
              <a:t>Financial Report Summarization</a:t>
            </a:r>
            <a:r>
              <a:rPr kumimoji="0" lang="en-US" sz="2400" b="0" i="0" u="none" strike="noStrike" kern="0" cap="none" spc="0" normalizeH="0" baseline="0" noProof="0" dirty="0">
                <a:ln>
                  <a:noFill/>
                </a:ln>
                <a:solidFill>
                  <a:srgbClr val="FFFFFF"/>
                </a:solidFill>
                <a:effectLst/>
                <a:uLnTx/>
                <a:uFillTx/>
                <a:latin typeface="Ubuntu Medium"/>
                <a:ea typeface="+mn-ea"/>
                <a:cs typeface="+mn-cs"/>
              </a:rPr>
              <a:t> </a:t>
            </a:r>
            <a:endParaRPr kumimoji="0" lang="en-IN" sz="2400" b="0" i="0" u="none" strike="noStrike" kern="0" cap="none" spc="0" normalizeH="0" baseline="0" noProof="0" dirty="0">
              <a:ln>
                <a:noFill/>
              </a:ln>
              <a:solidFill>
                <a:srgbClr val="FFFFFF"/>
              </a:solidFill>
              <a:effectLst/>
              <a:uLnTx/>
              <a:uFillTx/>
              <a:latin typeface="Ubuntu Medium"/>
              <a:ea typeface="+mn-ea"/>
              <a:cs typeface="+mn-cs"/>
            </a:endParaRPr>
          </a:p>
        </p:txBody>
      </p:sp>
      <p:sp>
        <p:nvSpPr>
          <p:cNvPr id="14" name="TextBox 13">
            <a:extLst>
              <a:ext uri="{FF2B5EF4-FFF2-40B4-BE49-F238E27FC236}">
                <a16:creationId xmlns:a16="http://schemas.microsoft.com/office/drawing/2014/main" id="{ACE321E5-E718-40E1-AD33-621E8B06C96B}"/>
              </a:ext>
            </a:extLst>
          </p:cNvPr>
          <p:cNvSpPr txBox="1"/>
          <p:nvPr/>
        </p:nvSpPr>
        <p:spPr>
          <a:xfrm>
            <a:off x="4172105" y="1922368"/>
            <a:ext cx="7904280" cy="6549485"/>
          </a:xfrm>
          <a:prstGeom prst="rect">
            <a:avLst/>
          </a:prstGeom>
          <a:noFill/>
        </p:spPr>
        <p:txBody>
          <a:bodyPr wrap="square" lIns="0" tIns="0" rIns="0" bIns="0" anchor="t">
            <a:spAutoFit/>
          </a:bodyPr>
          <a:lstStyle/>
          <a:p>
            <a:pPr>
              <a:spcAft>
                <a:spcPts val="1200"/>
              </a:spcAft>
              <a:defRPr/>
            </a:pPr>
            <a:r>
              <a:rPr kumimoji="0" lang="en-IN" sz="1400" b="0" i="0" u="none" strike="noStrike" kern="1200" cap="none" spc="0" normalizeH="0" baseline="0" noProof="0" dirty="0">
                <a:ln>
                  <a:noFill/>
                </a:ln>
                <a:solidFill>
                  <a:schemeClr val="accent2"/>
                </a:solidFill>
                <a:effectLst/>
                <a:uLnTx/>
                <a:uFillTx/>
                <a:latin typeface="Ubuntu Light" panose="020B0304030602030204" pitchFamily="34" charset="0"/>
                <a:ea typeface="+mn-ea"/>
                <a:cs typeface="+mn-cs"/>
              </a:rPr>
              <a:t>Context/Market Positioning &amp; Competitio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400" b="1" i="0" u="none" strike="noStrike" kern="1200" cap="none" spc="0" normalizeH="0" baseline="0" noProof="0" dirty="0">
                <a:ln>
                  <a:noFill/>
                </a:ln>
                <a:solidFill>
                  <a:schemeClr val="bg1"/>
                </a:solidFill>
                <a:effectLst/>
                <a:uLnTx/>
                <a:uFillTx/>
                <a:latin typeface="Ubuntu Light" panose="020B0304030602030204" pitchFamily="34" charset="0"/>
                <a:ea typeface="+mn-ea"/>
                <a:cs typeface="+mn-cs"/>
              </a:rPr>
              <a:t>Context/Market Positioning:</a:t>
            </a:r>
            <a:r>
              <a:rPr kumimoji="0" lang="en-IN" sz="1400" b="0" i="0" u="none" strike="noStrike" kern="1200" cap="none" spc="0" normalizeH="0" baseline="0" noProof="0" dirty="0">
                <a:ln>
                  <a:noFill/>
                </a:ln>
                <a:solidFill>
                  <a:schemeClr val="accent2"/>
                </a:solidFill>
                <a:effectLst/>
                <a:uLnTx/>
                <a:uFillTx/>
                <a:latin typeface="Ubuntu Light" panose="020B0304030602030204" pitchFamily="34" charset="0"/>
                <a:ea typeface="+mn-ea"/>
                <a:cs typeface="+mn-cs"/>
              </a:rPr>
              <a:t> </a:t>
            </a:r>
            <a:r>
              <a:rPr kumimoji="0" lang="en-IN" sz="1400" b="0" i="0" u="none" strike="noStrike" kern="1200" cap="none" spc="0" normalizeH="0" baseline="0" noProof="0" dirty="0">
                <a:ln>
                  <a:noFill/>
                </a:ln>
                <a:solidFill>
                  <a:schemeClr val="bg1"/>
                </a:solidFill>
                <a:effectLst/>
                <a:uLnTx/>
                <a:uFillTx/>
                <a:latin typeface="Ubuntu Light" panose="020B0304030602030204" pitchFamily="34" charset="0"/>
                <a:ea typeface="+mn-ea"/>
                <a:cs typeface="+mn-cs"/>
              </a:rPr>
              <a:t>I</a:t>
            </a:r>
            <a:r>
              <a:rPr lang="en-IN" sz="1400" dirty="0">
                <a:solidFill>
                  <a:schemeClr val="bg1"/>
                </a:solidFill>
                <a:latin typeface="Ubuntu Light" panose="020B0304030602030204" pitchFamily="34" charset="0"/>
              </a:rPr>
              <a:t>t</a:t>
            </a:r>
            <a:r>
              <a:rPr kumimoji="0" lang="en-IN" sz="1400" b="0" i="0" u="none" strike="noStrike" kern="1200" cap="none" spc="0" normalizeH="0" baseline="0" noProof="0" dirty="0">
                <a:ln>
                  <a:noFill/>
                </a:ln>
                <a:solidFill>
                  <a:schemeClr val="accent2"/>
                </a:solidFill>
                <a:effectLst/>
                <a:uLnTx/>
                <a:uFillTx/>
                <a:latin typeface="Ubuntu Light" panose="020B0304030602030204" pitchFamily="34" charset="0"/>
                <a:ea typeface="+mn-ea"/>
                <a:cs typeface="+mn-cs"/>
              </a:rPr>
              <a:t> </a:t>
            </a:r>
            <a:r>
              <a:rPr lang="en-US" sz="1400" dirty="0">
                <a:solidFill>
                  <a:schemeClr val="bg1"/>
                </a:solidFill>
              </a:rPr>
              <a:t>entails offering AI-powered solutions to efficiently extract and summarize key financial insights.</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b="1" dirty="0">
                <a:solidFill>
                  <a:schemeClr val="bg1"/>
                </a:solidFill>
              </a:rPr>
              <a:t>Competition:</a:t>
            </a:r>
            <a:r>
              <a:rPr lang="en-US" sz="1400" dirty="0">
                <a:solidFill>
                  <a:schemeClr val="bg1"/>
                </a:solidFill>
              </a:rPr>
              <a:t> competition includes established financial technology firms, AI startups, and software providers aiming to enhance data analytics and reporting capabilities for businesses.</a:t>
            </a:r>
            <a:endParaRPr lang="en-IN" sz="1400" dirty="0">
              <a:solidFill>
                <a:schemeClr val="bg1"/>
              </a:solidFill>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400" b="0" i="0" u="none" strike="noStrike" kern="1200" cap="none" spc="0" normalizeH="0" baseline="0" noProof="0" dirty="0">
                <a:ln>
                  <a:noFill/>
                </a:ln>
                <a:solidFill>
                  <a:schemeClr val="accent2"/>
                </a:solidFill>
                <a:effectLst/>
                <a:uLnTx/>
                <a:uFillTx/>
                <a:latin typeface="Ubuntu Light" panose="020B0304030602030204" pitchFamily="34" charset="0"/>
                <a:ea typeface="+mn-ea"/>
                <a:cs typeface="+mn-cs"/>
              </a:rPr>
              <a:t>Challenges/Pain points </a:t>
            </a:r>
            <a:r>
              <a:rPr lang="en-IN" sz="1400" dirty="0">
                <a:solidFill>
                  <a:srgbClr val="FFFFFF"/>
                </a:solidFill>
                <a:latin typeface="Ubuntu Light" panose="020B0304030602030204" pitchFamily="34" charset="0"/>
              </a:rPr>
              <a:t>: </a:t>
            </a:r>
          </a:p>
          <a:p>
            <a:pPr marL="0" lvl="0" indent="0" algn="l" defTabSz="711200">
              <a:lnSpc>
                <a:spcPct val="90000"/>
              </a:lnSpc>
              <a:spcBef>
                <a:spcPct val="0"/>
              </a:spcBef>
              <a:spcAft>
                <a:spcPct val="35000"/>
              </a:spcAft>
              <a:buNone/>
            </a:pPr>
            <a:r>
              <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a:t>
            </a:r>
            <a:r>
              <a:rPr lang="en-IN" sz="1400" b="1" kern="1200" dirty="0">
                <a:solidFill>
                  <a:schemeClr val="bg1"/>
                </a:solidFill>
              </a:rPr>
              <a:t>Context Understanding:</a:t>
            </a:r>
            <a:r>
              <a:rPr lang="en-IN" sz="1400" kern="1200" dirty="0">
                <a:solidFill>
                  <a:schemeClr val="bg1"/>
                </a:solidFill>
              </a:rPr>
              <a:t> The </a:t>
            </a:r>
            <a:r>
              <a:rPr lang="en-IN" sz="1400" kern="1200" dirty="0" err="1">
                <a:solidFill>
                  <a:schemeClr val="bg1"/>
                </a:solidFill>
              </a:rPr>
              <a:t>OpenAI</a:t>
            </a:r>
            <a:r>
              <a:rPr lang="en-IN" sz="1400" kern="1200" dirty="0">
                <a:solidFill>
                  <a:schemeClr val="bg1"/>
                </a:solidFill>
              </a:rPr>
              <a:t> model might struggle to capture the nuanced context of financial documents, leading to potentially inaccurate or irrelevant summaries.</a:t>
            </a:r>
          </a:p>
          <a:p>
            <a:pPr defTabSz="711200">
              <a:lnSpc>
                <a:spcPct val="90000"/>
              </a:lnSpc>
              <a:spcBef>
                <a:spcPct val="0"/>
              </a:spcBef>
              <a:spcAft>
                <a:spcPct val="35000"/>
              </a:spcAft>
            </a:pPr>
            <a:r>
              <a:rPr lang="en-IN" sz="1400" b="1" kern="1200" dirty="0">
                <a:solidFill>
                  <a:schemeClr val="bg1"/>
                </a:solidFill>
              </a:rPr>
              <a:t>Data Privacy:</a:t>
            </a:r>
            <a:r>
              <a:rPr lang="en-IN" sz="1400" kern="1200" dirty="0">
                <a:solidFill>
                  <a:schemeClr val="bg1"/>
                </a:solidFill>
              </a:rPr>
              <a:t> Financial documents often contain sensitive information. Sharing such documents with external services like OpenAI raises data privacy and security concerns.</a:t>
            </a: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1400" b="0" i="0" u="none" strike="noStrike" kern="1200" cap="none" spc="0" normalizeH="0" baseline="0" noProof="0" dirty="0">
                <a:ln>
                  <a:noFill/>
                </a:ln>
                <a:solidFill>
                  <a:schemeClr val="accent2"/>
                </a:solidFill>
                <a:effectLst/>
                <a:uLnTx/>
                <a:uFillTx/>
                <a:latin typeface="Ubuntu Light" panose="020B0304030602030204" pitchFamily="34" charset="0"/>
                <a:ea typeface="+mn-ea"/>
                <a:cs typeface="+mn-cs"/>
              </a:rPr>
              <a:t>Gain /Benefit points </a:t>
            </a:r>
            <a:r>
              <a:rPr lang="en-IN" sz="1400" dirty="0">
                <a:solidFill>
                  <a:srgbClr val="FFFFFF"/>
                </a:solidFill>
                <a:latin typeface="Ubuntu Light" panose="020B0304030602030204" pitchFamily="34" charset="0"/>
              </a:rPr>
              <a:t>:</a:t>
            </a:r>
          </a:p>
          <a:p>
            <a:pPr marL="0" lvl="0" indent="0" algn="l" defTabSz="711200">
              <a:lnSpc>
                <a:spcPct val="90000"/>
              </a:lnSpc>
              <a:spcBef>
                <a:spcPct val="0"/>
              </a:spcBef>
              <a:spcAft>
                <a:spcPct val="35000"/>
              </a:spcAft>
              <a:buNone/>
            </a:pPr>
            <a:r>
              <a:rPr lang="en-IN" sz="1400" b="1" kern="1200" dirty="0">
                <a:solidFill>
                  <a:schemeClr val="bg1"/>
                </a:solidFill>
              </a:rPr>
              <a:t>Time Savings:</a:t>
            </a:r>
            <a:r>
              <a:rPr lang="en-IN" sz="1400" kern="1200" dirty="0">
                <a:solidFill>
                  <a:schemeClr val="bg1"/>
                </a:solidFill>
              </a:rPr>
              <a:t> </a:t>
            </a:r>
            <a:r>
              <a:rPr lang="en-IN" sz="1400" kern="1200" dirty="0" err="1">
                <a:solidFill>
                  <a:schemeClr val="bg1"/>
                </a:solidFill>
              </a:rPr>
              <a:t>OpenAI's</a:t>
            </a:r>
            <a:r>
              <a:rPr lang="en-IN" sz="1400" kern="1200" dirty="0">
                <a:solidFill>
                  <a:schemeClr val="bg1"/>
                </a:solidFill>
              </a:rPr>
              <a:t> text summarization accelerates the process of reviewing lengthy financial documents, providing quick insights.</a:t>
            </a:r>
          </a:p>
          <a:p>
            <a:pPr defTabSz="711200">
              <a:lnSpc>
                <a:spcPct val="90000"/>
              </a:lnSpc>
              <a:spcBef>
                <a:spcPct val="0"/>
              </a:spcBef>
              <a:spcAft>
                <a:spcPct val="35000"/>
              </a:spcAft>
            </a:pPr>
            <a:r>
              <a:rPr lang="en-IN" sz="1400" b="1" kern="1200" dirty="0">
                <a:solidFill>
                  <a:schemeClr val="bg1"/>
                </a:solidFill>
              </a:rPr>
              <a:t>Digestible Information:</a:t>
            </a:r>
            <a:r>
              <a:rPr lang="en-IN" sz="1400" kern="1200" dirty="0">
                <a:solidFill>
                  <a:schemeClr val="bg1"/>
                </a:solidFill>
              </a:rPr>
              <a:t> Summaries provide a concise overview of complex financial content, making it easier for users to grasp key points.</a:t>
            </a:r>
          </a:p>
          <a:p>
            <a:pPr defTabSz="711200">
              <a:lnSpc>
                <a:spcPct val="90000"/>
              </a:lnSpc>
              <a:spcBef>
                <a:spcPct val="0"/>
              </a:spcBef>
              <a:spcAft>
                <a:spcPct val="35000"/>
              </a:spcAft>
            </a:pPr>
            <a:r>
              <a:rPr kumimoji="0" lang="en-IN" sz="1400" b="0" i="0" u="none" strike="noStrike" kern="1200" cap="none" spc="0" normalizeH="0" baseline="0" noProof="0" dirty="0">
                <a:ln>
                  <a:noFill/>
                </a:ln>
                <a:solidFill>
                  <a:schemeClr val="accent2"/>
                </a:solidFill>
                <a:effectLst/>
                <a:uLnTx/>
                <a:uFillTx/>
                <a:latin typeface="Ubuntu Light" panose="020B0304030602030204" pitchFamily="34" charset="0"/>
                <a:ea typeface="+mn-ea"/>
                <a:cs typeface="+mn-cs"/>
              </a:rPr>
              <a:t>Approach &amp; Solution</a:t>
            </a:r>
            <a:r>
              <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t>
            </a:r>
          </a:p>
          <a:p>
            <a:pPr defTabSz="711200">
              <a:lnSpc>
                <a:spcPct val="90000"/>
              </a:lnSpc>
              <a:spcBef>
                <a:spcPct val="0"/>
              </a:spcBef>
              <a:spcAft>
                <a:spcPct val="35000"/>
              </a:spcAft>
            </a:pPr>
            <a:r>
              <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he solution focuses on implementing GPT3 turbo engine model to summarize financial data entities from documents provided by user to understand the summary and also to improve quality of </a:t>
            </a:r>
            <a:r>
              <a:rPr kumimoji="0" lang="en-IN" sz="14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the data.</a:t>
            </a: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defTabSz="711200">
              <a:lnSpc>
                <a:spcPct val="90000"/>
              </a:lnSpc>
              <a:spcBef>
                <a:spcPct val="0"/>
              </a:spcBef>
              <a:spcAft>
                <a:spcPct val="35000"/>
              </a:spcAft>
            </a:pPr>
            <a:endParaRPr kumimoji="0" lang="en-IN" sz="1400" b="0" i="0" u="none" strike="noStrike" cap="none" spc="0" normalizeH="0" baseline="0" noProof="0" dirty="0">
              <a:ln>
                <a:noFill/>
              </a:ln>
              <a:solidFill>
                <a:schemeClr val="bg1"/>
              </a:solidFill>
              <a:effectLst/>
              <a:uLnTx/>
              <a:uFillTx/>
              <a:latin typeface="Ubuntu Light" panose="020B0304030602030204" pitchFamily="34" charset="0"/>
              <a:ea typeface="+mn-ea"/>
              <a:cs typeface="+mn-cs"/>
            </a:endParaRPr>
          </a:p>
          <a:p>
            <a:pPr defTabSz="711200">
              <a:lnSpc>
                <a:spcPct val="90000"/>
              </a:lnSpc>
              <a:spcBef>
                <a:spcPct val="0"/>
              </a:spcBef>
              <a:spcAft>
                <a:spcPct val="35000"/>
              </a:spcAft>
            </a:pPr>
            <a:endParaRPr lang="en-US" sz="1400" kern="1200" dirty="0">
              <a:solidFill>
                <a:schemeClr val="bg1"/>
              </a:solidFill>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sp>
        <p:nvSpPr>
          <p:cNvPr id="31" name="TextBox 30">
            <a:extLst>
              <a:ext uri="{FF2B5EF4-FFF2-40B4-BE49-F238E27FC236}">
                <a16:creationId xmlns:a16="http://schemas.microsoft.com/office/drawing/2014/main" id="{77B9E064-1AFA-4ECC-BA28-7AFE2A666441}"/>
              </a:ext>
            </a:extLst>
          </p:cNvPr>
          <p:cNvSpPr txBox="1"/>
          <p:nvPr/>
        </p:nvSpPr>
        <p:spPr>
          <a:xfrm>
            <a:off x="4172105" y="691262"/>
            <a:ext cx="7780609" cy="1231106"/>
          </a:xfrm>
          <a:prstGeom prst="rect">
            <a:avLst/>
          </a:prstGeom>
          <a:noFill/>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IN" sz="1600" b="0" i="0" dirty="0">
                <a:solidFill>
                  <a:schemeClr val="bg1"/>
                </a:solidFill>
                <a:effectLst/>
                <a:latin typeface="Söhne"/>
              </a:rPr>
              <a:t>The purpose of financial report summarization is to distil complex and detailed financial information from various reports, statements, and documents into concise and meaningful summaries. Financial reports can be extensive and packed with data, making it challenging for decision-makers, investors, analysts, and other stakeholders to quickly grasp the key insights and trends. </a:t>
            </a:r>
            <a:endParaRPr kumimoji="0" lang="en-IN" sz="1600" b="0" i="0" u="none" strike="noStrike" kern="1200" cap="none" spc="0" normalizeH="0" baseline="0" noProof="0" dirty="0">
              <a:ln>
                <a:noFill/>
              </a:ln>
              <a:solidFill>
                <a:schemeClr val="bg1"/>
              </a:solidFill>
              <a:effectLst/>
              <a:uLnTx/>
              <a:uFillTx/>
              <a:latin typeface="Ubuntu"/>
              <a:ea typeface="Verdana" panose="020B0604030504040204" pitchFamily="34" charset="0"/>
              <a:cs typeface="+mn-cs"/>
            </a:endParaRPr>
          </a:p>
        </p:txBody>
      </p:sp>
      <p:sp>
        <p:nvSpPr>
          <p:cNvPr id="3" name="Rectangle 2">
            <a:extLst>
              <a:ext uri="{FF2B5EF4-FFF2-40B4-BE49-F238E27FC236}">
                <a16:creationId xmlns:a16="http://schemas.microsoft.com/office/drawing/2014/main" id="{5F5C717B-4823-CEB0-66B2-A158E2A1D021}"/>
              </a:ext>
            </a:extLst>
          </p:cNvPr>
          <p:cNvSpPr/>
          <p:nvPr/>
        </p:nvSpPr>
        <p:spPr>
          <a:xfrm flipH="1">
            <a:off x="0" y="6070619"/>
            <a:ext cx="4079875" cy="395287"/>
          </a:xfrm>
          <a:prstGeom prst="rect">
            <a:avLst/>
          </a:prstGeom>
          <a:solidFill>
            <a:schemeClr val="accent4">
              <a:lumMod val="90000"/>
              <a:lumOff val="1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i="0">
                <a:solidFill>
                  <a:schemeClr val="bg1"/>
                </a:solidFill>
                <a:effectLst/>
                <a:latin typeface="+mj-lt"/>
              </a:rPr>
              <a:t>AI ANALYTICS &amp; DATA SCIENCE</a:t>
            </a:r>
          </a:p>
        </p:txBody>
      </p:sp>
      <p:sp>
        <p:nvSpPr>
          <p:cNvPr id="4" name="Rectangle 3">
            <a:extLst>
              <a:ext uri="{FF2B5EF4-FFF2-40B4-BE49-F238E27FC236}">
                <a16:creationId xmlns:a16="http://schemas.microsoft.com/office/drawing/2014/main" id="{DF4568F4-6AE7-C1D8-4351-1DF394F93D20}"/>
              </a:ext>
            </a:extLst>
          </p:cNvPr>
          <p:cNvSpPr/>
          <p:nvPr/>
        </p:nvSpPr>
        <p:spPr>
          <a:xfrm>
            <a:off x="1" y="6465087"/>
            <a:ext cx="4079875" cy="395054"/>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FFFFFF"/>
                </a:solidFill>
                <a:effectLst/>
                <a:uLnTx/>
                <a:uFillTx/>
                <a:latin typeface="Ubuntu"/>
                <a:ea typeface="+mn-ea"/>
                <a:cs typeface="+mn-cs"/>
              </a:rPr>
              <a:t>CUSTOMER FIRST</a:t>
            </a:r>
          </a:p>
        </p:txBody>
      </p:sp>
      <p:pic>
        <p:nvPicPr>
          <p:cNvPr id="7" name="Picture 6">
            <a:extLst>
              <a:ext uri="{FF2B5EF4-FFF2-40B4-BE49-F238E27FC236}">
                <a16:creationId xmlns:a16="http://schemas.microsoft.com/office/drawing/2014/main" id="{B10ACC78-4080-57DA-99CF-C6E73293188D}"/>
              </a:ext>
            </a:extLst>
          </p:cNvPr>
          <p:cNvPicPr>
            <a:picLocks noChangeAspect="1"/>
          </p:cNvPicPr>
          <p:nvPr/>
        </p:nvPicPr>
        <p:blipFill>
          <a:blip r:embed="rId3"/>
          <a:stretch>
            <a:fillRect/>
          </a:stretch>
        </p:blipFill>
        <p:spPr>
          <a:xfrm rot="20494603">
            <a:off x="438738" y="2091426"/>
            <a:ext cx="6229127" cy="2272415"/>
          </a:xfrm>
          <a:prstGeom prst="rect">
            <a:avLst/>
          </a:prstGeom>
        </p:spPr>
      </p:pic>
      <p:pic>
        <p:nvPicPr>
          <p:cNvPr id="1026" name="Picture 2" descr="38,900+ Financial Report Stock Photos, Pictures &amp; Royalty-Free Images -  iStock | Financial report background, Finance, Accounting">
            <a:extLst>
              <a:ext uri="{FF2B5EF4-FFF2-40B4-BE49-F238E27FC236}">
                <a16:creationId xmlns:a16="http://schemas.microsoft.com/office/drawing/2014/main" id="{39906D23-66E7-1AC5-F03D-C5775D6E70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387831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70852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8DAF62-9E9F-DE56-1CB7-DC4322127931}"/>
              </a:ext>
            </a:extLst>
          </p:cNvPr>
          <p:cNvSpPr txBox="1"/>
          <p:nvPr/>
        </p:nvSpPr>
        <p:spPr>
          <a:xfrm>
            <a:off x="671984" y="448814"/>
            <a:ext cx="38993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Ubuntu"/>
                <a:ea typeface="+mn-ea"/>
                <a:cs typeface="+mn-cs"/>
              </a:rPr>
              <a:t>Solution Approach</a:t>
            </a:r>
          </a:p>
        </p:txBody>
      </p:sp>
      <p:grpSp>
        <p:nvGrpSpPr>
          <p:cNvPr id="4" name="Group 3">
            <a:extLst>
              <a:ext uri="{FF2B5EF4-FFF2-40B4-BE49-F238E27FC236}">
                <a16:creationId xmlns:a16="http://schemas.microsoft.com/office/drawing/2014/main" id="{7D7A4DC1-1CB9-0A93-C64A-E3A63B8A7D3F}"/>
              </a:ext>
            </a:extLst>
          </p:cNvPr>
          <p:cNvGrpSpPr/>
          <p:nvPr/>
        </p:nvGrpSpPr>
        <p:grpSpPr>
          <a:xfrm>
            <a:off x="2572274" y="1214037"/>
            <a:ext cx="3011474" cy="1761249"/>
            <a:chOff x="3529501" y="448947"/>
            <a:chExt cx="2980468" cy="1788280"/>
          </a:xfrm>
        </p:grpSpPr>
        <p:sp>
          <p:nvSpPr>
            <p:cNvPr id="5" name="Rectangle 4">
              <a:extLst>
                <a:ext uri="{FF2B5EF4-FFF2-40B4-BE49-F238E27FC236}">
                  <a16:creationId xmlns:a16="http://schemas.microsoft.com/office/drawing/2014/main" id="{5FDCE380-23A6-1EFA-9F95-40D7CA2777DC}"/>
                </a:ext>
              </a:extLst>
            </p:cNvPr>
            <p:cNvSpPr/>
            <p:nvPr/>
          </p:nvSpPr>
          <p:spPr>
            <a:xfrm>
              <a:off x="3529501" y="448947"/>
              <a:ext cx="2980468" cy="1788280"/>
            </a:xfrm>
            <a:prstGeom prst="rect">
              <a:avLst/>
            </a:prstGeom>
          </p:spPr>
          <p:style>
            <a:lnRef idx="2">
              <a:schemeClr val="lt1">
                <a:hueOff val="0"/>
                <a:satOff val="0"/>
                <a:lumOff val="0"/>
                <a:alphaOff val="0"/>
              </a:schemeClr>
            </a:lnRef>
            <a:fillRef idx="1">
              <a:schemeClr val="accent2">
                <a:hueOff val="-727682"/>
                <a:satOff val="-41964"/>
                <a:lumOff val="4314"/>
                <a:alphaOff val="0"/>
              </a:schemeClr>
            </a:fillRef>
            <a:effectRef idx="0">
              <a:schemeClr val="accent2">
                <a:hueOff val="-727682"/>
                <a:satOff val="-41964"/>
                <a:lumOff val="4314"/>
                <a:alphaOff val="0"/>
              </a:schemeClr>
            </a:effectRef>
            <a:fontRef idx="minor">
              <a:schemeClr val="lt1"/>
            </a:fontRef>
          </p:style>
          <p:txBody>
            <a:bodyPr/>
            <a:lstStyle/>
            <a:p>
              <a:endParaRPr lang="en-US"/>
            </a:p>
          </p:txBody>
        </p:sp>
        <p:sp>
          <p:nvSpPr>
            <p:cNvPr id="6" name="TextBox 5">
              <a:extLst>
                <a:ext uri="{FF2B5EF4-FFF2-40B4-BE49-F238E27FC236}">
                  <a16:creationId xmlns:a16="http://schemas.microsoft.com/office/drawing/2014/main" id="{D26AF227-C964-020F-A975-0C104FD5E52E}"/>
                </a:ext>
              </a:extLst>
            </p:cNvPr>
            <p:cNvSpPr txBox="1"/>
            <p:nvPr/>
          </p:nvSpPr>
          <p:spPr>
            <a:xfrm>
              <a:off x="3529501" y="448947"/>
              <a:ext cx="2980468" cy="17882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t" anchorCtr="0">
              <a:noAutofit/>
            </a:bodyPr>
            <a:lstStyle/>
            <a:p>
              <a:pPr marL="0" lvl="0" indent="0" algn="l" defTabSz="711200">
                <a:lnSpc>
                  <a:spcPct val="90000"/>
                </a:lnSpc>
                <a:spcBef>
                  <a:spcPct val="0"/>
                </a:spcBef>
                <a:spcAft>
                  <a:spcPct val="35000"/>
                </a:spcAft>
                <a:buNone/>
              </a:pPr>
              <a:r>
                <a:rPr lang="en-IN" sz="1600" b="1" kern="1200"/>
                <a:t>OpenAI Text Summarization</a:t>
              </a:r>
              <a:r>
                <a:rPr lang="en-IN" sz="1600" kern="1200"/>
                <a:t>: </a:t>
              </a:r>
              <a:endParaRPr lang="en-US" sz="1600" kern="1200"/>
            </a:p>
            <a:p>
              <a:pPr marL="114300" lvl="1" indent="-114300" algn="l" defTabSz="533400">
                <a:lnSpc>
                  <a:spcPct val="90000"/>
                </a:lnSpc>
                <a:spcBef>
                  <a:spcPct val="0"/>
                </a:spcBef>
                <a:spcAft>
                  <a:spcPct val="15000"/>
                </a:spcAft>
                <a:buChar char="•"/>
              </a:pPr>
              <a:r>
                <a:rPr lang="en-IN" sz="1200" kern="1200"/>
                <a:t>Utilize the OpenAI model for text summarization.</a:t>
              </a:r>
              <a:endParaRPr lang="en-US" sz="1200" kern="1200"/>
            </a:p>
            <a:p>
              <a:pPr marL="114300" lvl="1" indent="-114300" algn="l" defTabSz="533400">
                <a:lnSpc>
                  <a:spcPct val="90000"/>
                </a:lnSpc>
                <a:spcBef>
                  <a:spcPct val="0"/>
                </a:spcBef>
                <a:spcAft>
                  <a:spcPct val="15000"/>
                </a:spcAft>
                <a:buChar char="•"/>
              </a:pPr>
              <a:r>
                <a:rPr lang="en-IN" sz="1200" kern="1200" dirty="0"/>
                <a:t>Use prompts or queries to generate summaries for each page of the document.</a:t>
              </a:r>
              <a:endParaRPr lang="en-US" sz="1200" kern="1200" dirty="0"/>
            </a:p>
          </p:txBody>
        </p:sp>
      </p:grpSp>
      <p:sp>
        <p:nvSpPr>
          <p:cNvPr id="7" name="Arrow: Right 6">
            <a:extLst>
              <a:ext uri="{FF2B5EF4-FFF2-40B4-BE49-F238E27FC236}">
                <a16:creationId xmlns:a16="http://schemas.microsoft.com/office/drawing/2014/main" id="{F192B58C-B2A2-74F7-37AC-963ECC49B4C9}"/>
              </a:ext>
            </a:extLst>
          </p:cNvPr>
          <p:cNvSpPr/>
          <p:nvPr/>
        </p:nvSpPr>
        <p:spPr>
          <a:xfrm>
            <a:off x="5600835" y="1986678"/>
            <a:ext cx="451721" cy="239327"/>
          </a:xfrm>
          <a:prstGeom prst="rightArrow">
            <a:avLst>
              <a:gd name="adj1" fmla="val 50000"/>
              <a:gd name="adj2" fmla="val 50000"/>
            </a:avLst>
          </a:prstGeom>
        </p:spPr>
        <p:style>
          <a:lnRef idx="2">
            <a:schemeClr val="lt1">
              <a:hueOff val="0"/>
              <a:satOff val="0"/>
              <a:lumOff val="0"/>
              <a:alphaOff val="0"/>
            </a:schemeClr>
          </a:lnRef>
          <a:fillRef idx="1">
            <a:schemeClr val="accent2">
              <a:hueOff val="-1091522"/>
              <a:satOff val="-62946"/>
              <a:lumOff val="6471"/>
              <a:alphaOff val="0"/>
            </a:schemeClr>
          </a:fillRef>
          <a:effectRef idx="0">
            <a:schemeClr val="accent2">
              <a:hueOff val="-1091522"/>
              <a:satOff val="-62946"/>
              <a:lumOff val="6471"/>
              <a:alphaOff val="0"/>
            </a:schemeClr>
          </a:effectRef>
          <a:fontRef idx="minor">
            <a:schemeClr val="lt1"/>
          </a:fontRef>
        </p:style>
        <p:txBody>
          <a:bodyPr/>
          <a:lstStyle/>
          <a:p>
            <a:endParaRPr lang="en-US"/>
          </a:p>
        </p:txBody>
      </p:sp>
      <p:grpSp>
        <p:nvGrpSpPr>
          <p:cNvPr id="8" name="Group 7">
            <a:extLst>
              <a:ext uri="{FF2B5EF4-FFF2-40B4-BE49-F238E27FC236}">
                <a16:creationId xmlns:a16="http://schemas.microsoft.com/office/drawing/2014/main" id="{04824122-AA17-8FA3-EB62-DA11AF6D2CBF}"/>
              </a:ext>
            </a:extLst>
          </p:cNvPr>
          <p:cNvGrpSpPr/>
          <p:nvPr/>
        </p:nvGrpSpPr>
        <p:grpSpPr>
          <a:xfrm>
            <a:off x="6096000" y="1214037"/>
            <a:ext cx="3011474" cy="1761249"/>
            <a:chOff x="7053227" y="448947"/>
            <a:chExt cx="2980468" cy="1788280"/>
          </a:xfrm>
        </p:grpSpPr>
        <p:sp>
          <p:nvSpPr>
            <p:cNvPr id="9" name="Rectangle 8">
              <a:extLst>
                <a:ext uri="{FF2B5EF4-FFF2-40B4-BE49-F238E27FC236}">
                  <a16:creationId xmlns:a16="http://schemas.microsoft.com/office/drawing/2014/main" id="{EAC50DC0-5232-E884-2FB4-62D9BE3124E0}"/>
                </a:ext>
              </a:extLst>
            </p:cNvPr>
            <p:cNvSpPr/>
            <p:nvPr/>
          </p:nvSpPr>
          <p:spPr>
            <a:xfrm>
              <a:off x="7053227" y="448947"/>
              <a:ext cx="2980468" cy="1788280"/>
            </a:xfrm>
            <a:prstGeom prst="rect">
              <a:avLst/>
            </a:prstGeom>
          </p:spPr>
          <p:style>
            <a:lnRef idx="2">
              <a:schemeClr val="lt1">
                <a:hueOff val="0"/>
                <a:satOff val="0"/>
                <a:lumOff val="0"/>
                <a:alphaOff val="0"/>
              </a:schemeClr>
            </a:lnRef>
            <a:fillRef idx="1">
              <a:schemeClr val="accent2">
                <a:hueOff val="-1455363"/>
                <a:satOff val="-83928"/>
                <a:lumOff val="8628"/>
                <a:alphaOff val="0"/>
              </a:schemeClr>
            </a:fillRef>
            <a:effectRef idx="0">
              <a:schemeClr val="accent2">
                <a:hueOff val="-1455363"/>
                <a:satOff val="-83928"/>
                <a:lumOff val="8628"/>
                <a:alphaOff val="0"/>
              </a:schemeClr>
            </a:effectRef>
            <a:fontRef idx="minor">
              <a:schemeClr val="lt1"/>
            </a:fontRef>
          </p:style>
          <p:txBody>
            <a:bodyPr/>
            <a:lstStyle/>
            <a:p>
              <a:endParaRPr lang="en-US"/>
            </a:p>
          </p:txBody>
        </p:sp>
        <p:sp>
          <p:nvSpPr>
            <p:cNvPr id="10" name="TextBox 9">
              <a:extLst>
                <a:ext uri="{FF2B5EF4-FFF2-40B4-BE49-F238E27FC236}">
                  <a16:creationId xmlns:a16="http://schemas.microsoft.com/office/drawing/2014/main" id="{069BDBA6-FFD9-7EBF-2923-B22D50A0D061}"/>
                </a:ext>
              </a:extLst>
            </p:cNvPr>
            <p:cNvSpPr txBox="1"/>
            <p:nvPr/>
          </p:nvSpPr>
          <p:spPr>
            <a:xfrm>
              <a:off x="7053227" y="448947"/>
              <a:ext cx="2980468" cy="17882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t" anchorCtr="0">
              <a:noAutofit/>
            </a:bodyPr>
            <a:lstStyle/>
            <a:p>
              <a:pPr marL="0" lvl="0" indent="0" algn="l" defTabSz="711200">
                <a:lnSpc>
                  <a:spcPct val="90000"/>
                </a:lnSpc>
                <a:spcBef>
                  <a:spcPct val="0"/>
                </a:spcBef>
                <a:spcAft>
                  <a:spcPct val="35000"/>
                </a:spcAft>
                <a:buNone/>
              </a:pPr>
              <a:r>
                <a:rPr lang="en-IN" sz="1600" b="1" kern="1200"/>
                <a:t>Summary Extraction and Organization</a:t>
              </a:r>
              <a:r>
                <a:rPr lang="en-IN" sz="1600" kern="1200"/>
                <a:t>: </a:t>
              </a:r>
              <a:endParaRPr lang="en-US" sz="1600" kern="1200"/>
            </a:p>
            <a:p>
              <a:pPr marL="114300" lvl="1" indent="-114300" algn="l" defTabSz="533400">
                <a:lnSpc>
                  <a:spcPct val="90000"/>
                </a:lnSpc>
                <a:spcBef>
                  <a:spcPct val="0"/>
                </a:spcBef>
                <a:spcAft>
                  <a:spcPct val="15000"/>
                </a:spcAft>
                <a:buChar char="•"/>
              </a:pPr>
              <a:r>
                <a:rPr lang="en-IN" sz="1200" kern="1200"/>
                <a:t>Extract the generated summaries from the OpenAI responses.</a:t>
              </a:r>
              <a:endParaRPr lang="en-US" sz="1200" kern="1200"/>
            </a:p>
            <a:p>
              <a:pPr marL="114300" lvl="1" indent="-114300" algn="l" defTabSz="533400">
                <a:lnSpc>
                  <a:spcPct val="90000"/>
                </a:lnSpc>
                <a:spcBef>
                  <a:spcPct val="0"/>
                </a:spcBef>
                <a:spcAft>
                  <a:spcPct val="15000"/>
                </a:spcAft>
                <a:buChar char="•"/>
              </a:pPr>
              <a:r>
                <a:rPr lang="en-IN" sz="1200" kern="1200"/>
                <a:t>Organize the summaries in a structured format, associating each summary with its corresponding page.</a:t>
              </a:r>
              <a:endParaRPr lang="en-US" sz="1200" kern="1200"/>
            </a:p>
          </p:txBody>
        </p:sp>
      </p:grpSp>
      <p:sp>
        <p:nvSpPr>
          <p:cNvPr id="11" name="Rectangle 10">
            <a:extLst>
              <a:ext uri="{FF2B5EF4-FFF2-40B4-BE49-F238E27FC236}">
                <a16:creationId xmlns:a16="http://schemas.microsoft.com/office/drawing/2014/main" id="{F6D9293E-5CE9-FDBD-BF34-E31C804EB719}"/>
              </a:ext>
            </a:extLst>
          </p:cNvPr>
          <p:cNvSpPr/>
          <p:nvPr/>
        </p:nvSpPr>
        <p:spPr>
          <a:xfrm>
            <a:off x="2234813" y="3435730"/>
            <a:ext cx="1811053" cy="2912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black"/>
                </a:solidFill>
                <a:effectLst/>
                <a:uLnTx/>
                <a:uFillTx/>
                <a:latin typeface="Ubuntu"/>
                <a:ea typeface="+mn-ea"/>
                <a:cs typeface="+mn-cs"/>
              </a:rPr>
              <a:t>Data Source</a:t>
            </a:r>
          </a:p>
        </p:txBody>
      </p:sp>
      <p:sp>
        <p:nvSpPr>
          <p:cNvPr id="12" name="Rectangle 11">
            <a:extLst>
              <a:ext uri="{FF2B5EF4-FFF2-40B4-BE49-F238E27FC236}">
                <a16:creationId xmlns:a16="http://schemas.microsoft.com/office/drawing/2014/main" id="{97D5A4AF-AC7D-D7DE-BC89-C905C561B1BB}"/>
              </a:ext>
            </a:extLst>
          </p:cNvPr>
          <p:cNvSpPr/>
          <p:nvPr/>
        </p:nvSpPr>
        <p:spPr>
          <a:xfrm>
            <a:off x="4519476" y="3407609"/>
            <a:ext cx="1811053" cy="2912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black"/>
                </a:solidFill>
                <a:effectLst/>
                <a:uLnTx/>
                <a:uFillTx/>
                <a:latin typeface="Ubuntu"/>
                <a:ea typeface="+mn-ea"/>
                <a:cs typeface="+mn-cs"/>
              </a:rPr>
              <a:t>Data Engineering</a:t>
            </a:r>
          </a:p>
        </p:txBody>
      </p:sp>
      <p:sp>
        <p:nvSpPr>
          <p:cNvPr id="13" name="Rectangle 12">
            <a:extLst>
              <a:ext uri="{FF2B5EF4-FFF2-40B4-BE49-F238E27FC236}">
                <a16:creationId xmlns:a16="http://schemas.microsoft.com/office/drawing/2014/main" id="{643C7C55-024B-254D-7AC4-85385A38A2DD}"/>
              </a:ext>
            </a:extLst>
          </p:cNvPr>
          <p:cNvSpPr/>
          <p:nvPr/>
        </p:nvSpPr>
        <p:spPr>
          <a:xfrm>
            <a:off x="7190984" y="3435730"/>
            <a:ext cx="1811053" cy="2912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black"/>
                </a:solidFill>
                <a:effectLst/>
                <a:uLnTx/>
                <a:uFillTx/>
                <a:latin typeface="Ubuntu"/>
                <a:ea typeface="+mn-ea"/>
                <a:cs typeface="+mn-cs"/>
              </a:rPr>
              <a:t>LLMs</a:t>
            </a:r>
          </a:p>
        </p:txBody>
      </p:sp>
      <p:sp>
        <p:nvSpPr>
          <p:cNvPr id="14" name="Rectangle: Rounded Corners 13">
            <a:extLst>
              <a:ext uri="{FF2B5EF4-FFF2-40B4-BE49-F238E27FC236}">
                <a16:creationId xmlns:a16="http://schemas.microsoft.com/office/drawing/2014/main" id="{8EC0F587-259B-C62E-125A-08578C1DF9C2}"/>
              </a:ext>
            </a:extLst>
          </p:cNvPr>
          <p:cNvSpPr/>
          <p:nvPr/>
        </p:nvSpPr>
        <p:spPr>
          <a:xfrm>
            <a:off x="2284055" y="4388984"/>
            <a:ext cx="1259091" cy="364629"/>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FFFFFF"/>
                </a:solidFill>
                <a:effectLst/>
                <a:uLnTx/>
                <a:uFillTx/>
                <a:latin typeface="Ubuntu"/>
                <a:ea typeface="+mn-ea"/>
                <a:cs typeface="+mn-cs"/>
              </a:rPr>
              <a:t>Financial Report PDFs</a:t>
            </a:r>
          </a:p>
        </p:txBody>
      </p:sp>
      <p:sp>
        <p:nvSpPr>
          <p:cNvPr id="15" name="Rectangle: Rounded Corners 14">
            <a:extLst>
              <a:ext uri="{FF2B5EF4-FFF2-40B4-BE49-F238E27FC236}">
                <a16:creationId xmlns:a16="http://schemas.microsoft.com/office/drawing/2014/main" id="{BDA41D03-C2A5-0186-9B36-5029CF46D3E4}"/>
              </a:ext>
            </a:extLst>
          </p:cNvPr>
          <p:cNvSpPr/>
          <p:nvPr/>
        </p:nvSpPr>
        <p:spPr>
          <a:xfrm>
            <a:off x="4618394" y="3852183"/>
            <a:ext cx="1643426" cy="291206"/>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Ubuntu"/>
                <a:ea typeface="+mn-ea"/>
                <a:cs typeface="+mn-cs"/>
              </a:rPr>
              <a:t>Extract Data/Metadata</a:t>
            </a:r>
          </a:p>
        </p:txBody>
      </p:sp>
      <p:sp>
        <p:nvSpPr>
          <p:cNvPr id="16" name="Rectangle: Rounded Corners 15">
            <a:extLst>
              <a:ext uri="{FF2B5EF4-FFF2-40B4-BE49-F238E27FC236}">
                <a16:creationId xmlns:a16="http://schemas.microsoft.com/office/drawing/2014/main" id="{FA9A6461-5BDB-02A0-4728-2130BBA5ADEA}"/>
              </a:ext>
            </a:extLst>
          </p:cNvPr>
          <p:cNvSpPr/>
          <p:nvPr/>
        </p:nvSpPr>
        <p:spPr>
          <a:xfrm>
            <a:off x="4620832" y="4293499"/>
            <a:ext cx="1643426" cy="291206"/>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Ubuntu"/>
                <a:ea typeface="+mn-ea"/>
                <a:cs typeface="+mn-cs"/>
              </a:rPr>
              <a:t>Embedding Generation</a:t>
            </a:r>
          </a:p>
        </p:txBody>
      </p:sp>
      <p:sp>
        <p:nvSpPr>
          <p:cNvPr id="17" name="Rectangle: Rounded Corners 16">
            <a:extLst>
              <a:ext uri="{FF2B5EF4-FFF2-40B4-BE49-F238E27FC236}">
                <a16:creationId xmlns:a16="http://schemas.microsoft.com/office/drawing/2014/main" id="{F6C6ABA1-956B-DF10-65FB-89BDC5C96FB3}"/>
              </a:ext>
            </a:extLst>
          </p:cNvPr>
          <p:cNvSpPr/>
          <p:nvPr/>
        </p:nvSpPr>
        <p:spPr>
          <a:xfrm>
            <a:off x="4619581" y="4756717"/>
            <a:ext cx="1643426" cy="291206"/>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Ubuntu"/>
                <a:ea typeface="+mn-ea"/>
                <a:cs typeface="+mn-cs"/>
              </a:rPr>
              <a:t>Similarity Score</a:t>
            </a:r>
          </a:p>
        </p:txBody>
      </p:sp>
      <p:sp>
        <p:nvSpPr>
          <p:cNvPr id="18" name="Rectangle: Rounded Corners 17">
            <a:extLst>
              <a:ext uri="{FF2B5EF4-FFF2-40B4-BE49-F238E27FC236}">
                <a16:creationId xmlns:a16="http://schemas.microsoft.com/office/drawing/2014/main" id="{2B160BBC-5A52-7651-1DDF-CD1FDA6432AE}"/>
              </a:ext>
            </a:extLst>
          </p:cNvPr>
          <p:cNvSpPr/>
          <p:nvPr/>
        </p:nvSpPr>
        <p:spPr>
          <a:xfrm>
            <a:off x="4610736" y="5212314"/>
            <a:ext cx="1643426" cy="291206"/>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Ubuntu"/>
                <a:ea typeface="+mn-ea"/>
                <a:cs typeface="+mn-cs"/>
              </a:rPr>
              <a:t>Stopwords</a:t>
            </a:r>
          </a:p>
        </p:txBody>
      </p:sp>
      <p:sp>
        <p:nvSpPr>
          <p:cNvPr id="19" name="Rectangle: Rounded Corners 18">
            <a:extLst>
              <a:ext uri="{FF2B5EF4-FFF2-40B4-BE49-F238E27FC236}">
                <a16:creationId xmlns:a16="http://schemas.microsoft.com/office/drawing/2014/main" id="{1218073A-CC0E-954C-8740-213250E4CB07}"/>
              </a:ext>
            </a:extLst>
          </p:cNvPr>
          <p:cNvSpPr/>
          <p:nvPr/>
        </p:nvSpPr>
        <p:spPr>
          <a:xfrm>
            <a:off x="7524448" y="4567210"/>
            <a:ext cx="1189371" cy="498323"/>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Ubuntu"/>
                <a:ea typeface="+mn-ea"/>
                <a:cs typeface="+mn-cs"/>
              </a:rPr>
              <a:t>text-embedding-ada-002</a:t>
            </a:r>
          </a:p>
        </p:txBody>
      </p:sp>
      <p:sp>
        <p:nvSpPr>
          <p:cNvPr id="20" name="Rectangle: Rounded Corners 19">
            <a:extLst>
              <a:ext uri="{FF2B5EF4-FFF2-40B4-BE49-F238E27FC236}">
                <a16:creationId xmlns:a16="http://schemas.microsoft.com/office/drawing/2014/main" id="{D0A6B39A-4FDC-19A3-F07A-BF3E30CE7FFA}"/>
              </a:ext>
            </a:extLst>
          </p:cNvPr>
          <p:cNvSpPr/>
          <p:nvPr/>
        </p:nvSpPr>
        <p:spPr>
          <a:xfrm>
            <a:off x="7521258" y="5171600"/>
            <a:ext cx="1195750" cy="184799"/>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050" dirty="0">
                <a:solidFill>
                  <a:srgbClr val="FFFFFF"/>
                </a:solidFill>
                <a:latin typeface="Ubuntu"/>
              </a:rPr>
              <a:t>text-davinci-003</a:t>
            </a:r>
            <a:endParaRPr kumimoji="0" lang="en-IN" sz="1050" b="0" i="0" u="none" strike="noStrike" kern="1200" cap="none" spc="0" normalizeH="0" baseline="0" noProof="0" dirty="0">
              <a:ln>
                <a:noFill/>
              </a:ln>
              <a:solidFill>
                <a:srgbClr val="FFFFFF"/>
              </a:solidFill>
              <a:effectLst/>
              <a:uLnTx/>
              <a:uFillTx/>
              <a:latin typeface="Ubuntu"/>
              <a:ea typeface="+mn-ea"/>
              <a:cs typeface="+mn-cs"/>
            </a:endParaRPr>
          </a:p>
        </p:txBody>
      </p:sp>
      <p:sp>
        <p:nvSpPr>
          <p:cNvPr id="21" name="Rectangle: Rounded Corners 20">
            <a:extLst>
              <a:ext uri="{FF2B5EF4-FFF2-40B4-BE49-F238E27FC236}">
                <a16:creationId xmlns:a16="http://schemas.microsoft.com/office/drawing/2014/main" id="{8F137F32-A102-451F-F8F5-FBEFAB293E3A}"/>
              </a:ext>
            </a:extLst>
          </p:cNvPr>
          <p:cNvSpPr/>
          <p:nvPr/>
        </p:nvSpPr>
        <p:spPr>
          <a:xfrm>
            <a:off x="7320802" y="4117862"/>
            <a:ext cx="1606474" cy="1385658"/>
          </a:xfrm>
          <a:prstGeom prst="roundRect">
            <a:avLst/>
          </a:prstGeom>
          <a:noFill/>
          <a:ln>
            <a:solidFill>
              <a:schemeClr val="accent4">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50" b="1" i="0" u="none" strike="noStrike" kern="1200" cap="none" spc="0" normalizeH="0" baseline="0" noProof="0" dirty="0">
                <a:ln>
                  <a:noFill/>
                </a:ln>
                <a:solidFill>
                  <a:srgbClr val="FFFFFF"/>
                </a:solidFill>
                <a:effectLst/>
                <a:uLnTx/>
                <a:uFillTx/>
                <a:latin typeface="Ubuntu"/>
                <a:ea typeface="+mn-ea"/>
                <a:cs typeface="+mn-cs"/>
              </a:rPr>
              <a:t>LLM AP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1" i="0" u="none" strike="noStrike" kern="1200" cap="none" spc="0" normalizeH="0" baseline="0" noProof="0" dirty="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1" i="0" u="none" strike="noStrike" kern="1200" cap="none" spc="0" normalizeH="0" baseline="0" noProof="0" dirty="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050" b="1" dirty="0">
              <a:solidFill>
                <a:srgbClr val="FFFFFF"/>
              </a:solidFill>
              <a:latin typeface="Ubuntu"/>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1" i="0" u="none" strike="noStrike" kern="1200" cap="none" spc="0" normalizeH="0" baseline="0" noProof="0" dirty="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1" i="0" u="none" strike="noStrike" kern="1200" cap="none" spc="0" normalizeH="0" baseline="0" noProof="0" dirty="0">
              <a:ln>
                <a:noFill/>
              </a:ln>
              <a:solidFill>
                <a:srgbClr val="FFFFFF"/>
              </a:solidFill>
              <a:effectLst/>
              <a:uLnTx/>
              <a:uFillTx/>
              <a:latin typeface="Ubuntu"/>
              <a:ea typeface="+mn-ea"/>
              <a:cs typeface="+mn-cs"/>
            </a:endParaRPr>
          </a:p>
        </p:txBody>
      </p:sp>
      <p:sp>
        <p:nvSpPr>
          <p:cNvPr id="22" name="Rectangle 21">
            <a:extLst>
              <a:ext uri="{FF2B5EF4-FFF2-40B4-BE49-F238E27FC236}">
                <a16:creationId xmlns:a16="http://schemas.microsoft.com/office/drawing/2014/main" id="{E02EA08F-C5FB-5629-0FFA-7C5845345D36}"/>
              </a:ext>
            </a:extLst>
          </p:cNvPr>
          <p:cNvSpPr/>
          <p:nvPr/>
        </p:nvSpPr>
        <p:spPr>
          <a:xfrm>
            <a:off x="2169483" y="3304580"/>
            <a:ext cx="7342294" cy="2443784"/>
          </a:xfrm>
          <a:prstGeom prst="rect">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err="1">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233793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8AC80AC-27B7-E3B2-4DA5-9524F265D1B9}"/>
              </a:ext>
            </a:extLst>
          </p:cNvPr>
          <p:cNvSpPr txBox="1"/>
          <p:nvPr/>
        </p:nvSpPr>
        <p:spPr>
          <a:xfrm>
            <a:off x="477879" y="498763"/>
            <a:ext cx="8319906" cy="369332"/>
          </a:xfrm>
          <a:prstGeom prst="rect">
            <a:avLst/>
          </a:prstGeom>
          <a:noFill/>
        </p:spPr>
        <p:txBody>
          <a:bodyPr wrap="none" rtlCol="0">
            <a:spAutoFit/>
          </a:bodyPr>
          <a:lstStyle/>
          <a:p>
            <a:r>
              <a:rPr lang="en-IN" dirty="0">
                <a:solidFill>
                  <a:schemeClr val="bg1"/>
                </a:solidFill>
              </a:rPr>
              <a:t>T</a:t>
            </a:r>
            <a:r>
              <a:rPr lang="en-SE">
                <a:solidFill>
                  <a:schemeClr val="bg1"/>
                </a:solidFill>
              </a:rPr>
              <a:t>he obstacles </a:t>
            </a:r>
            <a:r>
              <a:rPr lang="en-SE" dirty="0">
                <a:solidFill>
                  <a:schemeClr val="bg1"/>
                </a:solidFill>
              </a:rPr>
              <a:t>that have been overcomed </a:t>
            </a:r>
            <a:r>
              <a:rPr lang="en-IN" dirty="0">
                <a:solidFill>
                  <a:schemeClr val="bg1"/>
                </a:solidFill>
              </a:rPr>
              <a:t>by </a:t>
            </a:r>
            <a:r>
              <a:rPr lang="en-IN" sz="1800" dirty="0">
                <a:solidFill>
                  <a:srgbClr val="FFFFFF"/>
                </a:solidFill>
              </a:rPr>
              <a:t>Financial Report Summarization</a:t>
            </a:r>
            <a:r>
              <a:rPr lang="en-IN" dirty="0">
                <a:solidFill>
                  <a:schemeClr val="bg1"/>
                </a:solidFill>
              </a:rPr>
              <a:t> :-</a:t>
            </a:r>
            <a:endParaRPr lang="en-SE" dirty="0">
              <a:solidFill>
                <a:schemeClr val="bg1"/>
              </a:solidFill>
            </a:endParaRPr>
          </a:p>
        </p:txBody>
      </p:sp>
      <p:graphicFrame>
        <p:nvGraphicFramePr>
          <p:cNvPr id="3" name="Diagram 2">
            <a:extLst>
              <a:ext uri="{FF2B5EF4-FFF2-40B4-BE49-F238E27FC236}">
                <a16:creationId xmlns:a16="http://schemas.microsoft.com/office/drawing/2014/main" id="{108B7664-CE82-B5D2-C449-8565FF5F2238}"/>
              </a:ext>
            </a:extLst>
          </p:cNvPr>
          <p:cNvGraphicFramePr/>
          <p:nvPr>
            <p:extLst>
              <p:ext uri="{D42A27DB-BD31-4B8C-83A1-F6EECF244321}">
                <p14:modId xmlns:p14="http://schemas.microsoft.com/office/powerpoint/2010/main" val="3985408706"/>
              </p:ext>
            </p:extLst>
          </p:nvPr>
        </p:nvGraphicFramePr>
        <p:xfrm>
          <a:off x="477878" y="940570"/>
          <a:ext cx="10875921"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23104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7_Capgemini Master 2021">
  <a:themeElements>
    <a:clrScheme name="CG Color Template">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650BCBF20459438E9F61E4A486F218" ma:contentTypeVersion="19" ma:contentTypeDescription="Create a new document." ma:contentTypeScope="" ma:versionID="194c622158d4561f3f2376be9db38ef5">
  <xsd:schema xmlns:xsd="http://www.w3.org/2001/XMLSchema" xmlns:xs="http://www.w3.org/2001/XMLSchema" xmlns:p="http://schemas.microsoft.com/office/2006/metadata/properties" xmlns:ns2="a79f93a1-71f6-4ac1-9cfe-8dca81e7b6ff" xmlns:ns3="7648ea05-db94-4e56-addd-80e988f8f5b2" targetNamespace="http://schemas.microsoft.com/office/2006/metadata/properties" ma:root="true" ma:fieldsID="6e50cca395b6e3d92e7542fc1133d2a5" ns2:_="" ns3:_="">
    <xsd:import namespace="a79f93a1-71f6-4ac1-9cfe-8dca81e7b6ff"/>
    <xsd:import namespace="7648ea05-db94-4e56-addd-80e988f8f5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Count" minOccurs="0"/>
                <xsd:element ref="ns2:KPI" minOccurs="0"/>
                <xsd:element ref="ns2:Assignedt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9f93a1-71f6-4ac1-9cfe-8dca81e7b6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Count" ma:index="23" nillable="true" ma:displayName="Count" ma:format="Dropdown" ma:internalName="Count" ma:percentage="FALSE">
      <xsd:simpleType>
        <xsd:restriction base="dms:Number"/>
      </xsd:simpleType>
    </xsd:element>
    <xsd:element name="KPI" ma:index="24" nillable="true" ma:displayName="KPI" ma:default="1" ma:format="Dropdown" ma:internalName="KPI">
      <xsd:simpleType>
        <xsd:restriction base="dms:Boolean"/>
      </xsd:simpleType>
    </xsd:element>
    <xsd:element name="Assignedto" ma:index="25" nillable="true" ma:displayName="Assigned to" ma:format="Dropdown" ma:list="UserInfo" ma:SharePointGroup="0" ma:internalName="Assignedto">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648ea05-db94-4e56-addd-80e988f8f5b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9759fdd-4431-4cf7-bc39-5276ac35d87f}" ma:internalName="TaxCatchAll" ma:showField="CatchAllData" ma:web="7648ea05-db94-4e56-addd-80e988f8f5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79f93a1-71f6-4ac1-9cfe-8dca81e7b6ff">
      <Terms xmlns="http://schemas.microsoft.com/office/infopath/2007/PartnerControls"/>
    </lcf76f155ced4ddcb4097134ff3c332f>
    <TaxCatchAll xmlns="7648ea05-db94-4e56-addd-80e988f8f5b2" xsi:nil="true"/>
    <Count xmlns="a79f93a1-71f6-4ac1-9cfe-8dca81e7b6ff" xsi:nil="true"/>
    <KPI xmlns="a79f93a1-71f6-4ac1-9cfe-8dca81e7b6ff">true</KPI>
    <Assignedto xmlns="a79f93a1-71f6-4ac1-9cfe-8dca81e7b6ff">
      <UserInfo>
        <DisplayName/>
        <AccountId xsi:nil="true"/>
        <AccountType/>
      </UserInfo>
    </Assignedto>
  </documentManagement>
</p:properties>
</file>

<file path=customXml/itemProps1.xml><?xml version="1.0" encoding="utf-8"?>
<ds:datastoreItem xmlns:ds="http://schemas.openxmlformats.org/officeDocument/2006/customXml" ds:itemID="{5E5097FF-EC0E-41A2-B4D5-240B3BD2B981}">
  <ds:schemaRefs>
    <ds:schemaRef ds:uri="7648ea05-db94-4e56-addd-80e988f8f5b2"/>
    <ds:schemaRef ds:uri="a79f93a1-71f6-4ac1-9cfe-8dca81e7b6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1053C1F-5FAF-4578-B7B3-5A1FAD965996}">
  <ds:schemaRefs>
    <ds:schemaRef ds:uri="http://schemas.microsoft.com/sharepoint/v3/contenttype/forms"/>
  </ds:schemaRefs>
</ds:datastoreItem>
</file>

<file path=customXml/itemProps3.xml><?xml version="1.0" encoding="utf-8"?>
<ds:datastoreItem xmlns:ds="http://schemas.openxmlformats.org/officeDocument/2006/customXml" ds:itemID="{A654268C-DAC5-4EC4-BD43-46AAE63FA0E9}">
  <ds:schemaRefs>
    <ds:schemaRef ds:uri="7648ea05-db94-4e56-addd-80e988f8f5b2"/>
    <ds:schemaRef ds:uri="a79f93a1-71f6-4ac1-9cfe-8dca81e7b6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52</TotalTime>
  <Words>813</Words>
  <Application>Microsoft Office PowerPoint</Application>
  <PresentationFormat>Widescreen</PresentationFormat>
  <Paragraphs>80</Paragraphs>
  <Slides>4</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Söhne</vt:lpstr>
      <vt:lpstr>Ubuntu</vt:lpstr>
      <vt:lpstr>Ubuntu Light</vt:lpstr>
      <vt:lpstr>Ubuntu Medium</vt:lpstr>
      <vt:lpstr>Wingdings</vt:lpstr>
      <vt:lpstr>27_Capgemini Master 2021</vt:lpstr>
      <vt:lpstr>think-cell Slide</vt:lpstr>
      <vt:lpstr>Financial Report Summariz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ttacharya, Sambit</dc:creator>
  <cp:lastModifiedBy>Vikas Shinde, Sonal</cp:lastModifiedBy>
  <cp:revision>12</cp:revision>
  <dcterms:created xsi:type="dcterms:W3CDTF">2022-11-28T07:41:08Z</dcterms:created>
  <dcterms:modified xsi:type="dcterms:W3CDTF">2023-09-04T06:0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650BCBF20459438E9F61E4A486F218</vt:lpwstr>
  </property>
  <property fmtid="{D5CDD505-2E9C-101B-9397-08002B2CF9AE}" pid="3" name="MediaServiceImageTags">
    <vt:lpwstr/>
  </property>
</Properties>
</file>